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4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6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7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8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9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10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11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12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13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14.xml" ContentType="application/vnd.openxmlformats-officedocument.theme+xml"/>
  <Override PartName="/ppt/tags/tag3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40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4"/>
    <p:sldMasterId id="2147483805" r:id="rId5"/>
    <p:sldMasterId id="2147483682" r:id="rId6"/>
    <p:sldMasterId id="2147483707" r:id="rId7"/>
    <p:sldMasterId id="2147483714" r:id="rId8"/>
    <p:sldMasterId id="2147483720" r:id="rId9"/>
    <p:sldMasterId id="2147483729" r:id="rId10"/>
    <p:sldMasterId id="2147483750" r:id="rId11"/>
    <p:sldMasterId id="2147483759" r:id="rId12"/>
    <p:sldMasterId id="2147483766" r:id="rId13"/>
    <p:sldMasterId id="2147483772" r:id="rId14"/>
    <p:sldMasterId id="2147483787" r:id="rId15"/>
    <p:sldMasterId id="2147483795" r:id="rId16"/>
  </p:sldMasterIdLst>
  <p:notesMasterIdLst>
    <p:notesMasterId r:id="rId39"/>
  </p:notesMasterIdLst>
  <p:sldIdLst>
    <p:sldId id="3613" r:id="rId17"/>
    <p:sldId id="3622" r:id="rId18"/>
    <p:sldId id="3623" r:id="rId19"/>
    <p:sldId id="3624" r:id="rId20"/>
    <p:sldId id="3625" r:id="rId21"/>
    <p:sldId id="3430" r:id="rId22"/>
    <p:sldId id="3627" r:id="rId23"/>
    <p:sldId id="3629" r:id="rId24"/>
    <p:sldId id="3631" r:id="rId25"/>
    <p:sldId id="3644" r:id="rId26"/>
    <p:sldId id="3023" r:id="rId27"/>
    <p:sldId id="3027" r:id="rId28"/>
    <p:sldId id="3026" r:id="rId29"/>
    <p:sldId id="3245" r:id="rId30"/>
    <p:sldId id="3105" r:id="rId31"/>
    <p:sldId id="3396" r:id="rId32"/>
    <p:sldId id="3645" r:id="rId33"/>
    <p:sldId id="3636" r:id="rId34"/>
    <p:sldId id="3638" r:id="rId35"/>
    <p:sldId id="3634" r:id="rId36"/>
    <p:sldId id="3633" r:id="rId37"/>
    <p:sldId id="3614" r:id="rId38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B5E4FB"/>
    <a:srgbClr val="0B88C7"/>
    <a:srgbClr val="22222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03" autoAdjust="0"/>
    <p:restoredTop sz="88963" autoAdjust="0"/>
  </p:normalViewPr>
  <p:slideViewPr>
    <p:cSldViewPr snapToGrid="0">
      <p:cViewPr varScale="1">
        <p:scale>
          <a:sx n="72" d="100"/>
          <a:sy n="72" d="100"/>
        </p:scale>
        <p:origin x="341" y="62"/>
      </p:cViewPr>
      <p:guideLst/>
    </p:cSldViewPr>
  </p:slideViewPr>
  <p:outlineViewPr>
    <p:cViewPr>
      <p:scale>
        <a:sx n="33" d="100"/>
        <a:sy n="33" d="100"/>
      </p:scale>
      <p:origin x="0" y="-792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2069"/>
    </p:cViewPr>
  </p:sorterViewPr>
  <p:notesViewPr>
    <p:cSldViewPr snapToGrid="0">
      <p:cViewPr varScale="1">
        <p:scale>
          <a:sx n="62" d="100"/>
          <a:sy n="62" d="100"/>
        </p:scale>
        <p:origin x="2357" y="4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2.xml"/><Relationship Id="rId26" Type="http://schemas.openxmlformats.org/officeDocument/2006/relationships/slide" Target="slides/slide10.xml"/><Relationship Id="rId39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5.xml"/><Relationship Id="rId34" Type="http://schemas.openxmlformats.org/officeDocument/2006/relationships/slide" Target="slides/slide18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1.xml"/><Relationship Id="rId25" Type="http://schemas.openxmlformats.org/officeDocument/2006/relationships/slide" Target="slides/slide9.xml"/><Relationship Id="rId33" Type="http://schemas.openxmlformats.org/officeDocument/2006/relationships/slide" Target="slides/slide17.xml"/><Relationship Id="rId38" Type="http://schemas.openxmlformats.org/officeDocument/2006/relationships/slide" Target="slides/slide22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4.xml"/><Relationship Id="rId29" Type="http://schemas.openxmlformats.org/officeDocument/2006/relationships/slide" Target="slides/slide13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8.xml"/><Relationship Id="rId32" Type="http://schemas.openxmlformats.org/officeDocument/2006/relationships/slide" Target="slides/slide16.xml"/><Relationship Id="rId37" Type="http://schemas.openxmlformats.org/officeDocument/2006/relationships/slide" Target="slides/slide21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7.xml"/><Relationship Id="rId28" Type="http://schemas.openxmlformats.org/officeDocument/2006/relationships/slide" Target="slides/slide12.xml"/><Relationship Id="rId36" Type="http://schemas.openxmlformats.org/officeDocument/2006/relationships/slide" Target="slides/slide20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3.xml"/><Relationship Id="rId31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6.xml"/><Relationship Id="rId27" Type="http://schemas.openxmlformats.org/officeDocument/2006/relationships/slide" Target="slides/slide11.xml"/><Relationship Id="rId30" Type="http://schemas.openxmlformats.org/officeDocument/2006/relationships/slide" Target="slides/slide14.xml"/><Relationship Id="rId35" Type="http://schemas.openxmlformats.org/officeDocument/2006/relationships/slide" Target="slides/slide19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145F8A-C091-428F-8041-84D9FDD62D50}" type="datetimeFigureOut">
              <a:rPr lang="en-GB" smtClean="0"/>
              <a:t>14/12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D9D14C-DF44-4AB1-8290-87E79BFACFE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94937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D9D14C-DF44-4AB1-8290-87E79BFACFEC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79217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D9D14C-DF44-4AB1-8290-87E79BFACFEC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57703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Kugghjulen jobbar på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D9D14C-DF44-4AB1-8290-87E79BFACFEC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58060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D9D14C-DF44-4AB1-8290-87E79BFACFEC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36460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D9D14C-DF44-4AB1-8290-87E79BFACFEC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12260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D9D14C-DF44-4AB1-8290-87E79BFACFEC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379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D9D14C-DF44-4AB1-8290-87E79BFACFEC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39074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jpe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jpe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jpe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6.xml"/><Relationship Id="rId7" Type="http://schemas.openxmlformats.org/officeDocument/2006/relationships/oleObject" Target="../embeddings/oleObject3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image" Target="../media/image2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13.xml"/><Relationship Id="rId7" Type="http://schemas.openxmlformats.org/officeDocument/2006/relationships/oleObject" Target="../embeddings/oleObject6.bin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8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9" Type="http://schemas.openxmlformats.org/officeDocument/2006/relationships/image" Target="../media/image2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.bin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19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9.bin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9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ags" Target="../tags/tag3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2.emf"/><Relationship Id="rId2" Type="http://schemas.openxmlformats.org/officeDocument/2006/relationships/tags" Target="../tags/tag33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3.xml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36.xml"/><Relationship Id="rId7" Type="http://schemas.openxmlformats.org/officeDocument/2006/relationships/oleObject" Target="../embeddings/oleObject15.bin"/><Relationship Id="rId2" Type="http://schemas.openxmlformats.org/officeDocument/2006/relationships/tags" Target="../tags/tag35.xml"/><Relationship Id="rId1" Type="http://schemas.openxmlformats.org/officeDocument/2006/relationships/vmlDrawing" Target="../drawings/vmlDrawing15.vml"/><Relationship Id="rId6" Type="http://schemas.openxmlformats.org/officeDocument/2006/relationships/slideMaster" Target="../slideMasters/slideMaster13.xml"/><Relationship Id="rId5" Type="http://schemas.openxmlformats.org/officeDocument/2006/relationships/tags" Target="../tags/tag38.xml"/><Relationship Id="rId4" Type="http://schemas.openxmlformats.org/officeDocument/2006/relationships/tags" Target="../tags/tag37.xml"/><Relationship Id="rId9" Type="http://schemas.openxmlformats.org/officeDocument/2006/relationships/image" Target="../media/image2.emf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363985" y="1248397"/>
            <a:ext cx="11336784" cy="406055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EAA5CD6-79E2-4CB6-94F8-76E653C4F5E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  <a:br>
              <a:rPr lang="en-US"/>
            </a:br>
            <a:r>
              <a:rPr lang="en-US"/>
              <a:t>	Not:</a:t>
            </a:r>
            <a:br>
              <a:rPr lang="en-US"/>
            </a:br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E2B050-53BD-4741-A831-73C190D8B0B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E5EAD65-34C5-4B6B-984A-3B99053FBECB}" type="datetime1">
              <a:rPr lang="sv-SE" smtClean="0"/>
              <a:t>2020-12-14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B325C7-628A-409F-A1A1-1C3AE56E123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F3DBE8-4FF8-4C9D-9342-2ABB683E936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068378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37E99B7-A9D6-4D3C-B1FE-15A6B877CB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23B4525A-8FAE-4F67-9A42-5234B16E5F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82692EFF-703A-44AA-9DEE-C34B1F8AE3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08D429-349F-4ED8-A96F-6623BE5792F5}" type="datetimeFigureOut">
              <a:rPr lang="sv-SE" smtClean="0"/>
              <a:t>2020-12-14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478EC03-E283-4DA5-8E35-36014679C7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019794-C2F6-4B3E-85B0-8A899E1561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BFBC0E-E1B1-43BA-83F2-1B447AF13B4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045581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982C728-8589-421A-902C-4DBCC23507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9027E3D5-6057-4285-8035-B58E8FB1A15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B6B434B9-F7C7-44B5-985A-8F83E47479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1A9E4AFD-2342-4347-9583-EE62149FA7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08D429-349F-4ED8-A96F-6623BE5792F5}" type="datetimeFigureOut">
              <a:rPr lang="sv-SE" smtClean="0"/>
              <a:t>2020-12-14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B883284C-2C39-4875-A626-BC49496D60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82F1DC0C-6C10-4290-AAEC-9EB5236BD9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BFBC0E-E1B1-43BA-83F2-1B447AF13B4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255125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38A36F8-D89E-4D18-B27D-03DDF1B617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FF0DF00C-41E4-4DA0-AF8D-B5ED7236FA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9D44974D-235E-4D81-A67A-BCEFB4E1100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5D467984-7429-4A31-AC0B-766707358D6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Platshållare för innehåll 5">
            <a:extLst>
              <a:ext uri="{FF2B5EF4-FFF2-40B4-BE49-F238E27FC236}">
                <a16:creationId xmlns:a16="http://schemas.microsoft.com/office/drawing/2014/main" id="{0DB69D53-E0D2-4F4C-ADCB-EAA6A13BF08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>
            <a:extLst>
              <a:ext uri="{FF2B5EF4-FFF2-40B4-BE49-F238E27FC236}">
                <a16:creationId xmlns:a16="http://schemas.microsoft.com/office/drawing/2014/main" id="{0E7A6645-B993-4E0F-9DF9-E21C52E966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08D429-349F-4ED8-A96F-6623BE5792F5}" type="datetimeFigureOut">
              <a:rPr lang="sv-SE" smtClean="0"/>
              <a:t>2020-12-14</a:t>
            </a:fld>
            <a:endParaRPr lang="sv-SE"/>
          </a:p>
        </p:txBody>
      </p:sp>
      <p:sp>
        <p:nvSpPr>
          <p:cNvPr id="8" name="Platshållare för sidfot 7">
            <a:extLst>
              <a:ext uri="{FF2B5EF4-FFF2-40B4-BE49-F238E27FC236}">
                <a16:creationId xmlns:a16="http://schemas.microsoft.com/office/drawing/2014/main" id="{0D58D44C-FBAA-4BDD-B098-B0D7C0864F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Platshållare för bildnummer 8">
            <a:extLst>
              <a:ext uri="{FF2B5EF4-FFF2-40B4-BE49-F238E27FC236}">
                <a16:creationId xmlns:a16="http://schemas.microsoft.com/office/drawing/2014/main" id="{F77CD183-FAB8-4448-89E4-48FC920166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BFBC0E-E1B1-43BA-83F2-1B447AF13B4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417689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940C1CF-BED7-4411-87D5-98CF6D36B3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A078C97A-578C-4910-A79F-F043BF3665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08D429-349F-4ED8-A96F-6623BE5792F5}" type="datetimeFigureOut">
              <a:rPr lang="sv-SE" smtClean="0"/>
              <a:t>2020-12-14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66331FC9-B3DB-464A-AB47-FBCEBDA4BF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4671C499-8EDB-4BFB-85F5-E224F7E5F2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BFBC0E-E1B1-43BA-83F2-1B447AF13B4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745881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id="{19F727A6-0933-4E69-BA98-F71FFCF493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08D429-349F-4ED8-A96F-6623BE5792F5}" type="datetimeFigureOut">
              <a:rPr lang="sv-SE" smtClean="0"/>
              <a:t>2020-12-14</a:t>
            </a:fld>
            <a:endParaRPr lang="sv-SE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3866C1BB-DE37-4D96-8BE3-A3AD5A5264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394EFA5-4E1B-4D6B-BA51-3E62B9E11C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BFBC0E-E1B1-43BA-83F2-1B447AF13B4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507435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D01C39-6C19-47E6-B654-F9D039CB4E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4551BE0-3E60-4242-96CD-27E43CEBC5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6E2692E3-E77A-402B-BBBA-75D2755057B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21B1F99A-A01F-451B-9739-FCAA9BFCE5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08D429-349F-4ED8-A96F-6623BE5792F5}" type="datetimeFigureOut">
              <a:rPr lang="sv-SE" smtClean="0"/>
              <a:t>2020-12-14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227ED3B-1B10-4523-AD8A-2E9A9EB3C7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5DA30ACA-BA1C-41CE-BBB2-AC678438C1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BFBC0E-E1B1-43BA-83F2-1B447AF13B4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955864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EAF1091-DABD-4D54-8E4E-2CC57FDD84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ACDABE93-E20F-4E64-87DA-D23EC9579B1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A36169E0-CACC-495C-9E7C-F0EB9B796B9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24AA0705-4DB6-4CC4-B31D-5D2AF0CC40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08D429-349F-4ED8-A96F-6623BE5792F5}" type="datetimeFigureOut">
              <a:rPr lang="sv-SE" smtClean="0"/>
              <a:t>2020-12-14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0A02D352-A639-4EC5-B42D-4A66808662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6998628E-F867-4269-9B7E-1527D2E35B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BFBC0E-E1B1-43BA-83F2-1B447AF13B4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839716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1EA65EB-90BE-454D-A909-DBF1CC0F7E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lodrät text 2">
            <a:extLst>
              <a:ext uri="{FF2B5EF4-FFF2-40B4-BE49-F238E27FC236}">
                <a16:creationId xmlns:a16="http://schemas.microsoft.com/office/drawing/2014/main" id="{C62023D1-5334-4EE1-B6E5-2E6A700E8A5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D3CE6490-EC00-472F-95CA-9CA1BBBAB8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08D429-349F-4ED8-A96F-6623BE5792F5}" type="datetimeFigureOut">
              <a:rPr lang="sv-SE" smtClean="0"/>
              <a:t>2020-12-14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B3F38616-68A9-4D54-8ECF-9B96DB071E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8D332AA6-AA95-4FEA-9E4F-A407F2B31C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BFBC0E-E1B1-43BA-83F2-1B447AF13B4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0077865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>
            <a:extLst>
              <a:ext uri="{FF2B5EF4-FFF2-40B4-BE49-F238E27FC236}">
                <a16:creationId xmlns:a16="http://schemas.microsoft.com/office/drawing/2014/main" id="{2696108D-0C42-4977-A73F-CBE3169566B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lodrät text 2">
            <a:extLst>
              <a:ext uri="{FF2B5EF4-FFF2-40B4-BE49-F238E27FC236}">
                <a16:creationId xmlns:a16="http://schemas.microsoft.com/office/drawing/2014/main" id="{05A716C5-9B2D-470B-AB46-518587CEBB7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5DD6A7C2-8D35-4606-BA6E-7BAF737084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08D429-349F-4ED8-A96F-6623BE5792F5}" type="datetimeFigureOut">
              <a:rPr lang="sv-SE" smtClean="0"/>
              <a:t>2020-12-14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63B34417-94E7-4539-B0D7-666849CB36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C407F44E-459A-4A4F-B3C0-FF46C08287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BFBC0E-E1B1-43BA-83F2-1B447AF13B4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794577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ledning_oran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objekt 5">
            <a:extLst>
              <a:ext uri="{FF2B5EF4-FFF2-40B4-BE49-F238E27FC236}">
                <a16:creationId xmlns:a16="http://schemas.microsoft.com/office/drawing/2014/main" id="{EE9E16C1-32BF-4D24-8D33-B4B775C08E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7824" y="0"/>
            <a:ext cx="12439824" cy="6991078"/>
          </a:xfrm>
          <a:prstGeom prst="rect">
            <a:avLst/>
          </a:prstGeom>
        </p:spPr>
      </p:pic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5939580C-3118-4900-82E1-9F83FC8B1460}" type="datetime1">
              <a:rPr lang="sv-SE" smtClean="0"/>
              <a:t>2020-12-14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sv-SE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rubrik 1">
            <a:extLst>
              <a:ext uri="{FF2B5EF4-FFF2-40B4-BE49-F238E27FC236}">
                <a16:creationId xmlns:a16="http://schemas.microsoft.com/office/drawing/2014/main" id="{36CE4DA3-0ED9-421C-B680-C4606DB055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4233" y="2476499"/>
            <a:ext cx="9609825" cy="55341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16" name="Platshållare för text 2">
            <a:extLst>
              <a:ext uri="{FF2B5EF4-FFF2-40B4-BE49-F238E27FC236}">
                <a16:creationId xmlns:a16="http://schemas.microsoft.com/office/drawing/2014/main" id="{0CC9892F-AE6F-46B0-93DD-291DA359FB0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64232" y="3143250"/>
            <a:ext cx="9609825" cy="3651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0163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sv-SE"/>
              <a:t>Kontext</a:t>
            </a:r>
          </a:p>
        </p:txBody>
      </p:sp>
      <p:sp>
        <p:nvSpPr>
          <p:cNvPr id="17" name="Platshållare för text 2">
            <a:extLst>
              <a:ext uri="{FF2B5EF4-FFF2-40B4-BE49-F238E27FC236}">
                <a16:creationId xmlns:a16="http://schemas.microsoft.com/office/drawing/2014/main" id="{2011AA6C-355A-4A94-911A-1B0AFD78E8F7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64232" y="3589126"/>
            <a:ext cx="9609825" cy="3651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0163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sv-SE"/>
              <a:t>Datum</a:t>
            </a:r>
          </a:p>
        </p:txBody>
      </p:sp>
      <p:pic>
        <p:nvPicPr>
          <p:cNvPr id="18" name="Bildobjekt 8" descr="En bild som visar ritning&#10;&#10;Automatiskt genererad beskrivning">
            <a:extLst>
              <a:ext uri="{FF2B5EF4-FFF2-40B4-BE49-F238E27FC236}">
                <a16:creationId xmlns:a16="http://schemas.microsoft.com/office/drawing/2014/main" id="{E2870BB5-F66E-4DDA-AEA5-769C73C5769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4171" y="388536"/>
            <a:ext cx="1175965" cy="486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2591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3A7659CE-FCF4-46BA-B71E-8609325084B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  <a:br>
              <a:rPr lang="en-US"/>
            </a:br>
            <a:r>
              <a:rPr lang="en-US"/>
              <a:t>	Not:</a:t>
            </a:r>
            <a:br>
              <a:rPr lang="en-US"/>
            </a:br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F89F9D-9D0D-4EDC-A57F-F1FAABD07C53}" type="datetime1">
              <a:rPr lang="sv-SE" smtClean="0"/>
              <a:t>2020-12-14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789701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ledning_rö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048"/>
            <a:ext cx="12192000" cy="6851904"/>
          </a:xfrm>
          <a:prstGeom prst="rect">
            <a:avLst/>
          </a:prstGeom>
          <a:solidFill>
            <a:schemeClr val="accent2"/>
          </a:solidFill>
        </p:spPr>
      </p:pic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4322087-AF74-4FAC-8BB8-C5005223BD3C}" type="datetime1">
              <a:rPr lang="sv-SE" smtClean="0"/>
              <a:t>2020-12-14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sv-SE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8" name="Bildobjekt 7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8" y="-9524"/>
            <a:ext cx="3096000" cy="3599059"/>
          </a:xfrm>
          <a:prstGeom prst="rect">
            <a:avLst/>
          </a:prstGeom>
        </p:spPr>
      </p:pic>
      <p:pic>
        <p:nvPicPr>
          <p:cNvPr id="9" name="Bildobjekt 8" descr="En bild som visar ritning&#10;&#10;Automatiskt genererad beskrivning">
            <a:extLst>
              <a:ext uri="{FF2B5EF4-FFF2-40B4-BE49-F238E27FC236}">
                <a16:creationId xmlns:a16="http://schemas.microsoft.com/office/drawing/2014/main" id="{E0CF1DFE-83CD-4DBA-9864-1BB764A14C1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4171" y="388536"/>
            <a:ext cx="1175965" cy="486066"/>
          </a:xfrm>
          <a:prstGeom prst="rect">
            <a:avLst/>
          </a:prstGeom>
        </p:spPr>
      </p:pic>
      <p:sp>
        <p:nvSpPr>
          <p:cNvPr id="10" name="Platshållare för rubrik 1">
            <a:extLst>
              <a:ext uri="{FF2B5EF4-FFF2-40B4-BE49-F238E27FC236}">
                <a16:creationId xmlns:a16="http://schemas.microsoft.com/office/drawing/2014/main" id="{B3738259-3797-457A-91AE-A04C420B49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4233" y="2476499"/>
            <a:ext cx="9609825" cy="55341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11" name="Platshållare för text 2">
            <a:extLst>
              <a:ext uri="{FF2B5EF4-FFF2-40B4-BE49-F238E27FC236}">
                <a16:creationId xmlns:a16="http://schemas.microsoft.com/office/drawing/2014/main" id="{12E38416-DB63-4BBA-821D-95093A79B7D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64232" y="3143250"/>
            <a:ext cx="9609825" cy="3651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0163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sv-SE"/>
              <a:t>Kontext</a:t>
            </a:r>
          </a:p>
        </p:txBody>
      </p:sp>
      <p:sp>
        <p:nvSpPr>
          <p:cNvPr id="12" name="Platshållare för text 2">
            <a:extLst>
              <a:ext uri="{FF2B5EF4-FFF2-40B4-BE49-F238E27FC236}">
                <a16:creationId xmlns:a16="http://schemas.microsoft.com/office/drawing/2014/main" id="{AC66A8E2-64C4-4231-8E86-BC55B00BBBE3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64232" y="3589126"/>
            <a:ext cx="9609825" cy="3651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0163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sv-SE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108994519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ledning_grå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048"/>
            <a:ext cx="12192000" cy="6851904"/>
          </a:xfrm>
          <a:prstGeom prst="rect">
            <a:avLst/>
          </a:prstGeom>
        </p:spPr>
      </p:pic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98FF651A-9F74-418F-AA3D-E63E5114F4D6}" type="datetime1">
              <a:rPr lang="sv-SE" smtClean="0"/>
              <a:t>2020-12-14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sv-SE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8" y="-9524"/>
            <a:ext cx="3096000" cy="3599059"/>
          </a:xfrm>
          <a:prstGeom prst="rect">
            <a:avLst/>
          </a:prstGeom>
        </p:spPr>
      </p:pic>
      <p:pic>
        <p:nvPicPr>
          <p:cNvPr id="9" name="Bildobjekt 8" descr="En bild som visar ritning&#10;&#10;Automatiskt genererad beskrivning">
            <a:extLst>
              <a:ext uri="{FF2B5EF4-FFF2-40B4-BE49-F238E27FC236}">
                <a16:creationId xmlns:a16="http://schemas.microsoft.com/office/drawing/2014/main" id="{66BA1DF9-F254-47E8-AD5B-F1789C944EB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4171" y="388536"/>
            <a:ext cx="1175965" cy="486066"/>
          </a:xfrm>
          <a:prstGeom prst="rect">
            <a:avLst/>
          </a:prstGeom>
        </p:spPr>
      </p:pic>
      <p:sp>
        <p:nvSpPr>
          <p:cNvPr id="10" name="Platshållare för rubrik 1">
            <a:extLst>
              <a:ext uri="{FF2B5EF4-FFF2-40B4-BE49-F238E27FC236}">
                <a16:creationId xmlns:a16="http://schemas.microsoft.com/office/drawing/2014/main" id="{B5EC65B2-2E51-4F9B-A42A-1716D23F95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4233" y="2476499"/>
            <a:ext cx="9609825" cy="55341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11" name="Platshållare för text 2">
            <a:extLst>
              <a:ext uri="{FF2B5EF4-FFF2-40B4-BE49-F238E27FC236}">
                <a16:creationId xmlns:a16="http://schemas.microsoft.com/office/drawing/2014/main" id="{0CD45EFD-EF95-4E8D-909B-ED34A4A6137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64232" y="3143250"/>
            <a:ext cx="9609825" cy="3651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0163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sv-SE"/>
              <a:t>Kontext</a:t>
            </a:r>
          </a:p>
        </p:txBody>
      </p:sp>
      <p:sp>
        <p:nvSpPr>
          <p:cNvPr id="12" name="Platshållare för text 2">
            <a:extLst>
              <a:ext uri="{FF2B5EF4-FFF2-40B4-BE49-F238E27FC236}">
                <a16:creationId xmlns:a16="http://schemas.microsoft.com/office/drawing/2014/main" id="{377C5332-A4C9-4CD2-A74E-54896D39663D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64232" y="3589126"/>
            <a:ext cx="9609825" cy="3651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0163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sv-SE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18949965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sbild_oran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objekt 5">
            <a:extLst>
              <a:ext uri="{FF2B5EF4-FFF2-40B4-BE49-F238E27FC236}">
                <a16:creationId xmlns:a16="http://schemas.microsoft.com/office/drawing/2014/main" id="{EE9E16C1-32BF-4D24-8D33-B4B775C08E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7824" y="0"/>
            <a:ext cx="12439824" cy="6991078"/>
          </a:xfrm>
          <a:prstGeom prst="rect">
            <a:avLst/>
          </a:prstGeom>
        </p:spPr>
      </p:pic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4E5DAA5-D7C1-4429-AEFE-B44316EF1271}" type="datetime1">
              <a:rPr lang="sv-SE" smtClean="0"/>
              <a:t>2020-12-14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sv-SE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18" name="Bildobjekt 8" descr="En bild som visar ritning&#10;&#10;Automatiskt genererad beskrivning">
            <a:extLst>
              <a:ext uri="{FF2B5EF4-FFF2-40B4-BE49-F238E27FC236}">
                <a16:creationId xmlns:a16="http://schemas.microsoft.com/office/drawing/2014/main" id="{E2870BB5-F66E-4DDA-AEA5-769C73C5769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4171" y="388536"/>
            <a:ext cx="1175965" cy="486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9413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sbild_rö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048"/>
            <a:ext cx="12192000" cy="6851904"/>
          </a:xfrm>
          <a:prstGeom prst="rect">
            <a:avLst/>
          </a:prstGeom>
          <a:solidFill>
            <a:schemeClr val="accent2"/>
          </a:solidFill>
        </p:spPr>
      </p:pic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6EE1C7FA-4B82-4C45-BFB2-7452EA3CDF96}" type="datetime1">
              <a:rPr lang="sv-SE" smtClean="0"/>
              <a:t>2020-12-14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sv-SE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8" name="Bildobjekt 7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8" y="-9524"/>
            <a:ext cx="3096000" cy="3599059"/>
          </a:xfrm>
          <a:prstGeom prst="rect">
            <a:avLst/>
          </a:prstGeom>
        </p:spPr>
      </p:pic>
      <p:pic>
        <p:nvPicPr>
          <p:cNvPr id="9" name="Bildobjekt 8" descr="En bild som visar ritning&#10;&#10;Automatiskt genererad beskrivning">
            <a:extLst>
              <a:ext uri="{FF2B5EF4-FFF2-40B4-BE49-F238E27FC236}">
                <a16:creationId xmlns:a16="http://schemas.microsoft.com/office/drawing/2014/main" id="{E0CF1DFE-83CD-4DBA-9864-1BB764A14C1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4171" y="388536"/>
            <a:ext cx="1175965" cy="486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7202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sbild_grå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048"/>
            <a:ext cx="12192000" cy="6851904"/>
          </a:xfrm>
          <a:prstGeom prst="rect">
            <a:avLst/>
          </a:prstGeom>
        </p:spPr>
      </p:pic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EDFCBC1-BABE-4BA0-87C7-46B16D700190}" type="datetime1">
              <a:rPr lang="sv-SE" smtClean="0"/>
              <a:t>2020-12-14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sv-SE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8" y="-9524"/>
            <a:ext cx="3096000" cy="3599059"/>
          </a:xfrm>
          <a:prstGeom prst="rect">
            <a:avLst/>
          </a:prstGeom>
        </p:spPr>
      </p:pic>
      <p:pic>
        <p:nvPicPr>
          <p:cNvPr id="9" name="Bildobjekt 8" descr="En bild som visar ritning&#10;&#10;Automatiskt genererad beskrivning">
            <a:extLst>
              <a:ext uri="{FF2B5EF4-FFF2-40B4-BE49-F238E27FC236}">
                <a16:creationId xmlns:a16="http://schemas.microsoft.com/office/drawing/2014/main" id="{66BA1DF9-F254-47E8-AD5B-F1789C944EB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4171" y="388536"/>
            <a:ext cx="1175965" cy="486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29964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363985" y="1248397"/>
            <a:ext cx="11336784" cy="406055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EAA5CD6-79E2-4CB6-94F8-76E653C4F5E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  <a:br>
              <a:rPr lang="en-US"/>
            </a:br>
            <a:r>
              <a:rPr lang="en-US"/>
              <a:t>	Not:</a:t>
            </a:r>
            <a:br>
              <a:rPr lang="en-US"/>
            </a:br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E2B050-53BD-4741-A831-73C190D8B0B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D8413990-810B-46D1-A41F-B3C9BF6154AF}" type="datetime1">
              <a:rPr lang="sv-SE" smtClean="0"/>
              <a:t>2020-12-14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B325C7-628A-409F-A1A1-1C3AE56E123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F3DBE8-4FF8-4C9D-9342-2ABB683E936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4781325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5A5FCA-26C3-4C37-B59E-730E00CCEF40}" type="datetime1">
              <a:rPr lang="sv-SE" smtClean="0"/>
              <a:t>2020-12-14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3A7659CE-FCF4-46BA-B71E-8609325084B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402046469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D3AA94-2BAF-4B56-B8F4-A77EBE0AF636}" type="datetime1">
              <a:rPr lang="sv-SE" smtClean="0"/>
              <a:t>2020-12-14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3EAFF01E-1B98-4A74-93B1-40A92345C2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29775324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896F7E-EE76-4F39-9945-E470BEE2A6DB}" type="datetime1">
              <a:rPr lang="sv-SE" smtClean="0"/>
              <a:t>2020-12-14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ED59D13C-7D03-4C48-834D-3DBFBB46B7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285983819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610203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F87267-C413-48A2-ABDE-579E488E5DBE}" type="datetime1">
              <a:rPr lang="sv-SE" smtClean="0"/>
              <a:t>2020-12-14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3EAFF01E-1B98-4A74-93B1-40A92345C2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131159471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363985" y="1248397"/>
            <a:ext cx="11336784" cy="4060559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EAA5CD6-79E2-4CB6-94F8-76E653C4F5E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 dirty="0"/>
              <a:t>	</a:t>
            </a:r>
            <a:r>
              <a:rPr lang="en-US"/>
              <a:t>1)</a:t>
            </a:r>
            <a:br>
              <a:rPr lang="en-US"/>
            </a:br>
            <a:r>
              <a:rPr lang="en-US" dirty="0"/>
              <a:t>	</a:t>
            </a:r>
            <a:r>
              <a:rPr lang="en-US"/>
              <a:t>Not:</a:t>
            </a:r>
            <a:br>
              <a:rPr lang="en-US"/>
            </a:br>
            <a:r>
              <a:rPr lang="en-US" dirty="0"/>
              <a:t>	</a:t>
            </a:r>
            <a:r>
              <a:rPr lang="en-US" dirty="0" err="1"/>
              <a:t>Källa</a:t>
            </a:r>
            <a:r>
              <a:rPr lang="en-US" dirty="0"/>
              <a:t>: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E2B050-53BD-4741-A831-73C190D8B0B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4170A2-A308-4957-81B6-869DFE514EA0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B325C7-628A-409F-A1A1-1C3AE56E123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/>
          <a:lstStyle/>
          <a:p>
            <a:endParaRPr lang="sv-S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F3DBE8-4FF8-4C9D-9342-2ABB683E936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36250939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3A7659CE-FCF4-46BA-B71E-8609325084B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 dirty="0"/>
              <a:t>	1)</a:t>
            </a:r>
            <a:br>
              <a:rPr lang="en-US" dirty="0"/>
            </a:br>
            <a:r>
              <a:rPr lang="en-US" dirty="0"/>
              <a:t>	Not:</a:t>
            </a:r>
            <a:br>
              <a:rPr lang="en-US" dirty="0"/>
            </a:br>
            <a:r>
              <a:rPr lang="en-US" dirty="0"/>
              <a:t>	</a:t>
            </a:r>
            <a:r>
              <a:rPr lang="en-US" dirty="0" err="1"/>
              <a:t>Källa</a:t>
            </a:r>
            <a:r>
              <a:rPr lang="en-US" dirty="0"/>
              <a:t>: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5AADF2-CE2C-4319-BAB0-2E5C5913E7DF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/>
          <a:lstStyle/>
          <a:p>
            <a:endParaRPr lang="sv-SE" dirty="0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03476871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C94E12-14BF-47D5-AA85-469A21E7C54C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3EAFF01E-1B98-4A74-93B1-40A92345C2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 dirty="0"/>
              <a:t>	1)</a:t>
            </a:r>
          </a:p>
          <a:p>
            <a:pPr lvl="0"/>
            <a:r>
              <a:rPr lang="en-US" dirty="0"/>
              <a:t>	Not:</a:t>
            </a:r>
          </a:p>
          <a:p>
            <a:pPr lvl="0"/>
            <a:r>
              <a:rPr lang="en-US" dirty="0"/>
              <a:t>	</a:t>
            </a:r>
            <a:r>
              <a:rPr lang="en-US" dirty="0" err="1"/>
              <a:t>Källa</a:t>
            </a:r>
            <a:r>
              <a:rPr lang="en-US" dirty="0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388605285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5DB07-8B42-41DA-A3AA-9D60CFB7D7DA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ED59D13C-7D03-4C48-834D-3DBFBB46B7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 dirty="0"/>
              <a:t>	1)</a:t>
            </a:r>
          </a:p>
          <a:p>
            <a:pPr lvl="0"/>
            <a:r>
              <a:rPr lang="en-US" dirty="0"/>
              <a:t>	Not:</a:t>
            </a:r>
          </a:p>
          <a:p>
            <a:pPr lvl="0"/>
            <a:r>
              <a:rPr lang="en-US" dirty="0"/>
              <a:t>	</a:t>
            </a:r>
            <a:r>
              <a:rPr lang="en-US" dirty="0" err="1"/>
              <a:t>Källa</a:t>
            </a:r>
            <a:r>
              <a:rPr lang="en-US" dirty="0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32293984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4366439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ACDAFA1-A72F-41CE-9646-2DA8664926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1" name="think-cell Slide" r:id="rId7" imgW="524" imgH="526" progId="TCLayout.ActiveDocument.1">
                  <p:embed/>
                </p:oleObj>
              </mc:Choice>
              <mc:Fallback>
                <p:oleObj name="think-cell Slide" r:id="rId7" imgW="524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ACDAFA1-A72F-41CE-9646-2DA8664926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43EC533-70CB-4A87-BC9B-BFF74D0497D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ts val="3265"/>
              </a:lnSpc>
              <a:spcBef>
                <a:spcPct val="0"/>
              </a:spcBef>
              <a:spcAft>
                <a:spcPct val="0"/>
              </a:spcAft>
            </a:pPr>
            <a:endParaRPr lang="sv-SE" sz="2449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Calibri" pitchFamily="34" charset="0"/>
              <a:sym typeface="Arial" panose="020B0604020202020204" pitchFamily="34" charset="0"/>
            </a:endParaRPr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968ABED3-CC71-450B-BC59-BD6EEABBCAAE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eaLnBrk="1"/>
            <a:endParaRPr lang="sv-SE" sz="1837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1D5731A2-AA39-4A14-8F91-E73036A29191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4414" y="-13931"/>
            <a:ext cx="3158932" cy="3672162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00980" y="497312"/>
            <a:ext cx="9750185" cy="39678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n-GB" dirty="0"/>
            </a:lvl1pPr>
          </a:lstStyle>
          <a:p>
            <a:pPr lvl="0">
              <a:lnSpc>
                <a:spcPts val="3265"/>
              </a:lnSpc>
            </a:pPr>
            <a:r>
              <a:rPr lang="sv-SE"/>
              <a:t>Klicka här för att ändra mall för rubrikformat</a:t>
            </a:r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5840892" y="6584559"/>
            <a:ext cx="54261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224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‹#›</a:t>
            </a:fld>
            <a:r>
              <a:rPr lang="sv-SE"/>
              <a:t> 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99353" y="6584560"/>
            <a:ext cx="5387373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 eaLnBrk="1">
              <a:defRPr lang="en-GB" sz="1224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/>
              <a:t>ARBETSMATERIA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 hasCustomPrompt="1"/>
            <p:custDataLst>
              <p:tags r:id="rId4"/>
            </p:custDataLst>
          </p:nvPr>
        </p:nvSpPr>
        <p:spPr>
          <a:xfrm>
            <a:off x="399117" y="942226"/>
            <a:ext cx="9751779" cy="31402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041" i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99561" y="5887773"/>
            <a:ext cx="11395038" cy="510219"/>
          </a:xfrm>
        </p:spPr>
        <p:txBody>
          <a:bodyPr anchor="b" anchorCtr="0"/>
          <a:lstStyle>
            <a:lvl1pPr marL="837981" indent="-837981" defTabSz="853099">
              <a:lnSpc>
                <a:spcPts val="1224"/>
              </a:lnSpc>
              <a:spcAft>
                <a:spcPts val="0"/>
              </a:spcAft>
              <a:tabLst>
                <a:tab pos="639284" algn="r"/>
                <a:tab pos="853099" algn="l"/>
              </a:tabLst>
              <a:defRPr sz="1224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837981" lvl="0" indent="-837981" defTabSz="853099">
              <a:lnSpc>
                <a:spcPts val="1360"/>
              </a:lnSpc>
              <a:spcAft>
                <a:spcPts val="0"/>
              </a:spcAft>
              <a:tabLst>
                <a:tab pos="639284" algn="r"/>
                <a:tab pos="853099" algn="l"/>
              </a:tabLst>
            </a:pPr>
            <a:r>
              <a:rPr lang="sv-SE" sz="1360">
                <a:ea typeface="Verdana" pitchFamily="34" charset="0"/>
                <a:cs typeface="Verdana" pitchFamily="34" charset="0"/>
              </a:rPr>
              <a:t>	Not:	</a:t>
            </a:r>
            <a:r>
              <a:rPr lang="sv-SE" sz="1360" err="1">
                <a:ea typeface="Verdana" pitchFamily="34" charset="0"/>
                <a:cs typeface="Verdana" pitchFamily="34" charset="0"/>
              </a:rPr>
              <a:t>xxxxxx</a:t>
            </a:r>
            <a:endParaRPr lang="sv-SE" sz="1360">
              <a:ea typeface="Verdana" pitchFamily="34" charset="0"/>
              <a:cs typeface="Verdana" pitchFamily="34" charset="0"/>
            </a:endParaRPr>
          </a:p>
          <a:p>
            <a:pPr marL="837981" lvl="0" indent="-837981" defTabSz="853099">
              <a:lnSpc>
                <a:spcPts val="1360"/>
              </a:lnSpc>
              <a:spcAft>
                <a:spcPts val="0"/>
              </a:spcAft>
              <a:tabLst>
                <a:tab pos="639284" algn="r"/>
                <a:tab pos="853099" algn="l"/>
              </a:tabLst>
            </a:pPr>
            <a:r>
              <a:rPr lang="sv-SE" sz="136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837981" lvl="0" indent="-837981" defTabSz="853099">
              <a:lnSpc>
                <a:spcPts val="1360"/>
              </a:lnSpc>
              <a:spcAft>
                <a:spcPts val="0"/>
              </a:spcAft>
              <a:tabLst>
                <a:tab pos="639284" algn="r"/>
                <a:tab pos="853099" algn="l"/>
              </a:tabLst>
            </a:pPr>
            <a:r>
              <a:rPr lang="sv-SE" sz="136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360" err="1">
                <a:ea typeface="Verdana" pitchFamily="34" charset="0"/>
                <a:cs typeface="Verdana" pitchFamily="34" charset="0"/>
              </a:rPr>
              <a:t>xxxx</a:t>
            </a:r>
            <a:endParaRPr lang="sv-SE" sz="1360"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085227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2_V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73061978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5C18DA-410A-4124-BB0F-DE8CA676B1E5}" type="datetimeFigureOut">
              <a:rPr lang="sv-SE" smtClean="0"/>
              <a:t>2020-12-14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39973312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363985" y="1248397"/>
            <a:ext cx="11336784" cy="406055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EAA5CD6-79E2-4CB6-94F8-76E653C4F5E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  <a:br>
              <a:rPr lang="en-US"/>
            </a:br>
            <a:r>
              <a:rPr lang="en-US"/>
              <a:t>	Not:</a:t>
            </a:r>
            <a:br>
              <a:rPr lang="en-US"/>
            </a:br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E2B050-53BD-4741-A831-73C190D8B0B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4170A2-A308-4957-81B6-869DFE514EA0}" type="datetime1">
              <a:rPr lang="sv-SE" smtClean="0"/>
              <a:t>2020-12-14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B325C7-628A-409F-A1A1-1C3AE56E123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/>
          <a:lstStyle/>
          <a:p>
            <a:endParaRPr lang="sv-S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F3DBE8-4FF8-4C9D-9342-2ABB683E936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1853164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3A7659CE-FCF4-46BA-B71E-8609325084B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  <a:br>
              <a:rPr lang="en-US"/>
            </a:br>
            <a:r>
              <a:rPr lang="en-US"/>
              <a:t>	Not:</a:t>
            </a:r>
            <a:br>
              <a:rPr lang="en-US"/>
            </a:br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5AADF2-CE2C-4319-BAB0-2E5C5913E7DF}" type="datetime1">
              <a:rPr lang="sv-SE" smtClean="0"/>
              <a:t>2020-12-14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252528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7E2369-E1AD-46A2-877E-63157CAC5CE4}" type="datetime1">
              <a:rPr lang="sv-SE" smtClean="0"/>
              <a:t>2020-12-14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ED59D13C-7D03-4C48-834D-3DBFBB46B7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183116539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C94E12-14BF-47D5-AA85-469A21E7C54C}" type="datetime1">
              <a:rPr lang="sv-SE" smtClean="0"/>
              <a:t>2020-12-14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3EAFF01E-1B98-4A74-93B1-40A92345C2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372470264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5DB07-8B42-41DA-A3AA-9D60CFB7D7DA}" type="datetime1">
              <a:rPr lang="sv-SE" smtClean="0"/>
              <a:t>2020-12-14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ED59D13C-7D03-4C48-834D-3DBFBB46B7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395911202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5EF90A1-D457-4EE1-ABCA-D4C3BEF700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0293" y="774948"/>
            <a:ext cx="11065769" cy="714501"/>
          </a:xfrm>
        </p:spPr>
        <p:txBody>
          <a:bodyPr/>
          <a:lstStyle>
            <a:lvl1pPr>
              <a:defRPr sz="3200"/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0EF2B22C-99B4-4D14-ABBD-85E9A2D14B3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10293" y="2095500"/>
            <a:ext cx="5072062" cy="4305052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5" name="Platshållare för innehåll 3">
            <a:extLst>
              <a:ext uri="{FF2B5EF4-FFF2-40B4-BE49-F238E27FC236}">
                <a16:creationId xmlns:a16="http://schemas.microsoft.com/office/drawing/2014/main" id="{C3A808A8-C128-493E-9965-15ACC8BD4D6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604000" y="2095500"/>
            <a:ext cx="5072062" cy="4305052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6002351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7DE5DB2-B53A-4FE6-85DA-A7005F28D2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EBFB26F-525E-4E48-88BA-7A4362D88A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411BB5-B653-4B56-90DF-E966CDCB58DE}" type="datetime1">
              <a:rPr lang="sv-SE" smtClean="0"/>
              <a:t>2020-12-14</a:t>
            </a:fld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C6E3CCBD-98F1-43B5-84EB-CF11FFA0C1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476813E-8682-4AB4-A762-8FC588D650C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769149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5C18DA-410A-4124-BB0F-DE8CA676B1E5}" type="datetimeFigureOut">
              <a:rPr lang="sv-SE" smtClean="0"/>
              <a:t>2020-12-14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9338635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7044849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363985" y="1248398"/>
            <a:ext cx="11336784" cy="406055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EAA5CD6-79E2-4CB6-94F8-76E653C4F5E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56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1000"/>
            </a:lvl1pPr>
            <a:lvl2pPr marL="685783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2pPr>
            <a:lvl3pPr marL="1142971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3pPr>
            <a:lvl4pPr marL="1600160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4pPr>
            <a:lvl5pPr indent="0">
              <a:buNone/>
              <a:tabLst>
                <a:tab pos="647984" algn="r"/>
                <a:tab pos="863978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  <a:br>
              <a:rPr lang="en-US"/>
            </a:br>
            <a:r>
              <a:rPr lang="en-US"/>
              <a:t>	Not:</a:t>
            </a:r>
            <a:br>
              <a:rPr lang="en-US"/>
            </a:br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E2B050-53BD-4741-A831-73C190D8B0B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50A90AA-79A2-4B2A-B6F1-9AEAD0BC2428}" type="datetime1">
              <a:rPr lang="sv-SE" smtClean="0"/>
              <a:t>2020-12-14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B325C7-628A-409F-A1A1-1C3AE56E123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2457450" y="6356351"/>
            <a:ext cx="6029327" cy="365125"/>
          </a:xfrm>
          <a:prstGeom prst="rect">
            <a:avLst/>
          </a:prstGeom>
        </p:spPr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F3DBE8-4FF8-4C9D-9342-2ABB683E936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908874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3A7659CE-FCF4-46BA-B71E-8609325084B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56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1000"/>
            </a:lvl1pPr>
            <a:lvl2pPr marL="685783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2pPr>
            <a:lvl3pPr marL="1142971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3pPr>
            <a:lvl4pPr marL="1600160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4pPr>
            <a:lvl5pPr indent="0">
              <a:buNone/>
              <a:tabLst>
                <a:tab pos="647984" algn="r"/>
                <a:tab pos="863978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  <a:br>
              <a:rPr lang="en-US"/>
            </a:br>
            <a:r>
              <a:rPr lang="en-US"/>
              <a:t>	Not:</a:t>
            </a:r>
            <a:br>
              <a:rPr lang="en-US"/>
            </a:br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5D3EA8-DE82-4DC0-8F05-7E3D2EAB7179}" type="datetime1">
              <a:rPr lang="sv-SE" smtClean="0"/>
              <a:t>2020-12-14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>
          <a:xfrm>
            <a:off x="2457450" y="6356351"/>
            <a:ext cx="6029327" cy="365125"/>
          </a:xfrm>
          <a:prstGeom prst="rect">
            <a:avLst/>
          </a:prstGeom>
        </p:spPr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2669602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035A2F-F025-430A-9C41-09672D44A3F8}" type="datetime1">
              <a:rPr lang="sv-SE" smtClean="0"/>
              <a:t>2020-12-14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>
          <a:xfrm>
            <a:off x="2457450" y="6356351"/>
            <a:ext cx="6029327" cy="365125"/>
          </a:xfrm>
          <a:prstGeom prst="rect">
            <a:avLst/>
          </a:prstGeom>
        </p:spPr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3EAFF01E-1B98-4A74-93B1-40A92345C2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56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1000"/>
            </a:lvl1pPr>
            <a:lvl2pPr marL="685783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2pPr>
            <a:lvl3pPr marL="1142971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3pPr>
            <a:lvl4pPr marL="1600160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4pPr>
            <a:lvl5pPr indent="0">
              <a:buNone/>
              <a:tabLst>
                <a:tab pos="647984" algn="r"/>
                <a:tab pos="863978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93235210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353A79-A975-4D2E-9120-CA1C5EC9B816}" type="datetime1">
              <a:rPr lang="sv-SE" smtClean="0"/>
              <a:t>2020-12-14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>
          <a:xfrm>
            <a:off x="2457450" y="6356351"/>
            <a:ext cx="6029327" cy="365125"/>
          </a:xfrm>
          <a:prstGeom prst="rect">
            <a:avLst/>
          </a:prstGeom>
        </p:spPr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ED59D13C-7D03-4C48-834D-3DBFBB46B7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56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1000"/>
            </a:lvl1pPr>
            <a:lvl2pPr marL="685783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2pPr>
            <a:lvl3pPr marL="1142971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3pPr>
            <a:lvl4pPr marL="1600160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4pPr>
            <a:lvl5pPr indent="0">
              <a:buNone/>
              <a:tabLst>
                <a:tab pos="647984" algn="r"/>
                <a:tab pos="863978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14361332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EAAC965-8060-4EE4-AFDF-18D7DF67D5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469EF5B7-3C25-4B16-A731-556BEF2E0D4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9900" y="1460500"/>
            <a:ext cx="5105400" cy="477520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4571955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8234432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ACDAFA1-A72F-41CE-9646-2DA8664926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5" name="think-cell Slide" r:id="rId7" imgW="524" imgH="526" progId="TCLayout.ActiveDocument.1">
                  <p:embed/>
                </p:oleObj>
              </mc:Choice>
              <mc:Fallback>
                <p:oleObj name="think-cell Slide" r:id="rId7" imgW="524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ACDAFA1-A72F-41CE-9646-2DA8664926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43EC533-70CB-4A87-BC9B-BFF74D0497D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61977" cy="16197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ts val="3265"/>
              </a:lnSpc>
              <a:spcBef>
                <a:spcPct val="0"/>
              </a:spcBef>
              <a:spcAft>
                <a:spcPct val="0"/>
              </a:spcAft>
            </a:pPr>
            <a:endParaRPr lang="sv-SE" sz="2449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Calibri" pitchFamily="34" charset="0"/>
              <a:sym typeface="Arial" panose="020B0604020202020204" pitchFamily="34" charset="0"/>
            </a:endParaRPr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968ABED3-CC71-450B-BC59-BD6EEABBCAAE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eaLnBrk="1"/>
            <a:endParaRPr lang="sv-SE" sz="1837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1D5731A2-AA39-4A14-8F91-E73036A29191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4415" y="-13932"/>
            <a:ext cx="3158932" cy="3672163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00981" y="506686"/>
            <a:ext cx="9750185" cy="38741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n-GB" dirty="0"/>
            </a:lvl1pPr>
          </a:lstStyle>
          <a:p>
            <a:pPr lvl="0">
              <a:lnSpc>
                <a:spcPts val="3265"/>
              </a:lnSpc>
            </a:pPr>
            <a:r>
              <a:rPr lang="sv-SE"/>
              <a:t>Klicka här för att ändra mall för rubrikformat</a:t>
            </a:r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5840893" y="6584561"/>
            <a:ext cx="54261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224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‹#›</a:t>
            </a:fld>
            <a:r>
              <a:rPr lang="sv-SE"/>
              <a:t> 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99354" y="6584560"/>
            <a:ext cx="5387373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 eaLnBrk="1">
              <a:defRPr lang="en-GB" sz="1224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/>
              <a:t>ARBETSMATERIA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 hasCustomPrompt="1"/>
            <p:custDataLst>
              <p:tags r:id="rId4"/>
            </p:custDataLst>
          </p:nvPr>
        </p:nvSpPr>
        <p:spPr>
          <a:xfrm>
            <a:off x="399117" y="942227"/>
            <a:ext cx="9751779" cy="31402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041" i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99562" y="5887773"/>
            <a:ext cx="11395039" cy="510219"/>
          </a:xfrm>
        </p:spPr>
        <p:txBody>
          <a:bodyPr anchor="b" anchorCtr="0"/>
          <a:lstStyle>
            <a:lvl1pPr marL="837960" indent="-837960" defTabSz="853077">
              <a:lnSpc>
                <a:spcPts val="1224"/>
              </a:lnSpc>
              <a:spcAft>
                <a:spcPts val="0"/>
              </a:spcAft>
              <a:tabLst>
                <a:tab pos="639268" algn="r"/>
                <a:tab pos="853077" algn="l"/>
              </a:tabLst>
              <a:defRPr sz="1224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837960" lvl="0" indent="-837960" defTabSz="853077">
              <a:lnSpc>
                <a:spcPts val="1360"/>
              </a:lnSpc>
              <a:spcAft>
                <a:spcPts val="0"/>
              </a:spcAft>
              <a:tabLst>
                <a:tab pos="639268" algn="r"/>
                <a:tab pos="853077" algn="l"/>
              </a:tabLst>
            </a:pPr>
            <a:r>
              <a:rPr lang="sv-SE" sz="1360">
                <a:ea typeface="Verdana" pitchFamily="34" charset="0"/>
                <a:cs typeface="Verdana" pitchFamily="34" charset="0"/>
              </a:rPr>
              <a:t>	Not:	</a:t>
            </a:r>
            <a:r>
              <a:rPr lang="sv-SE" sz="1360" err="1">
                <a:ea typeface="Verdana" pitchFamily="34" charset="0"/>
                <a:cs typeface="Verdana" pitchFamily="34" charset="0"/>
              </a:rPr>
              <a:t>xxxxxx</a:t>
            </a:r>
            <a:endParaRPr lang="sv-SE" sz="1360">
              <a:ea typeface="Verdana" pitchFamily="34" charset="0"/>
              <a:cs typeface="Verdana" pitchFamily="34" charset="0"/>
            </a:endParaRPr>
          </a:p>
          <a:p>
            <a:pPr marL="837960" lvl="0" indent="-837960" defTabSz="853077">
              <a:lnSpc>
                <a:spcPts val="1360"/>
              </a:lnSpc>
              <a:spcAft>
                <a:spcPts val="0"/>
              </a:spcAft>
              <a:tabLst>
                <a:tab pos="639268" algn="r"/>
                <a:tab pos="853077" algn="l"/>
              </a:tabLst>
            </a:pPr>
            <a:r>
              <a:rPr lang="sv-SE" sz="136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837960" lvl="0" indent="-837960" defTabSz="853077">
              <a:lnSpc>
                <a:spcPts val="1360"/>
              </a:lnSpc>
              <a:spcAft>
                <a:spcPts val="0"/>
              </a:spcAft>
              <a:tabLst>
                <a:tab pos="639268" algn="r"/>
                <a:tab pos="853077" algn="l"/>
              </a:tabLst>
            </a:pPr>
            <a:r>
              <a:rPr lang="sv-SE" sz="136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360" err="1">
                <a:ea typeface="Verdana" pitchFamily="34" charset="0"/>
                <a:cs typeface="Verdana" pitchFamily="34" charset="0"/>
              </a:rPr>
              <a:t>xxxx</a:t>
            </a:r>
            <a:endParaRPr lang="sv-SE" sz="1360"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467245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2_V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98CBC8-ACC1-4E7D-849A-4D9557529BB5}" type="datetime1">
              <a:rPr lang="sv-SE" smtClean="0"/>
              <a:t>2020-12-14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0545333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6089F9-7311-4F74-A147-53A5F6706D89}" type="datetime1">
              <a:rPr lang="sv-SE" smtClean="0"/>
              <a:t>2020-12-14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3313106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5EF90A1-D457-4EE1-ABCA-D4C3BEF700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0293" y="774948"/>
            <a:ext cx="11065769" cy="714501"/>
          </a:xfrm>
        </p:spPr>
        <p:txBody>
          <a:bodyPr/>
          <a:lstStyle>
            <a:lvl1pPr>
              <a:defRPr sz="3200"/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0EF2B22C-99B4-4D14-ABBD-85E9A2D14B3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10293" y="2095500"/>
            <a:ext cx="5072062" cy="4305052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5" name="Platshållare för innehåll 3">
            <a:extLst>
              <a:ext uri="{FF2B5EF4-FFF2-40B4-BE49-F238E27FC236}">
                <a16:creationId xmlns:a16="http://schemas.microsoft.com/office/drawing/2014/main" id="{C3A808A8-C128-493E-9965-15ACC8BD4D6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604000" y="2095500"/>
            <a:ext cx="5072062" cy="4305052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185211714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363985" y="1248397"/>
            <a:ext cx="11336784" cy="406055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EAA5CD6-79E2-4CB6-94F8-76E653C4F5E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  <a:br>
              <a:rPr lang="en-US"/>
            </a:br>
            <a:r>
              <a:rPr lang="en-US"/>
              <a:t>	Not:</a:t>
            </a:r>
            <a:br>
              <a:rPr lang="en-US"/>
            </a:br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E2B050-53BD-4741-A831-73C190D8B0B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94DC9EB-BDC1-4859-BD61-E4566790F636}" type="datetime1">
              <a:rPr lang="sv-SE" smtClean="0"/>
              <a:t>2020-12-14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B325C7-628A-409F-A1A1-1C3AE56E123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F3DBE8-4FF8-4C9D-9342-2ABB683E936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8409265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 not remove" hidden="1">
            <a:extLst>
              <a:ext uri="{FF2B5EF4-FFF2-40B4-BE49-F238E27FC236}">
                <a16:creationId xmlns:a16="http://schemas.microsoft.com/office/drawing/2014/main" id="{2E191273-A5B2-4989-8A33-94315AE9725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21165F-7436-41C2-8F39-38F8E7BE30F7}" type="datetime1">
              <a:rPr lang="sv-SE" smtClean="0"/>
              <a:t>2020-12-14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3A7659CE-FCF4-46BA-B71E-8609325084B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233116797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8834E7-6CFE-4DBA-9CDB-08A675321505}" type="datetime1">
              <a:rPr lang="sv-SE" smtClean="0"/>
              <a:t>2020-12-14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3EAFF01E-1B98-4A74-93B1-40A92345C2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298431034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379F4-32D1-4AC6-8320-065B8FB63608}" type="datetime1">
              <a:rPr lang="sv-SE" smtClean="0"/>
              <a:t>2020-12-14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ED59D13C-7D03-4C48-834D-3DBFBB46B7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252628825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76407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0A6EC5-0471-4205-9883-074150B23D1A}" type="datetime1">
              <a:rPr lang="sv-SE" smtClean="0"/>
              <a:t>2020-12-14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1686730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ast rubrik">
  <p:cSld name="1_Endast rubrik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C13FB8E-6478-4269-B901-7BFC490E1B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5774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C13FB8E-6478-4269-B901-7BFC490E1B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Google Shape;58;p14"/>
          <p:cNvSpPr txBox="1">
            <a:spLocks noGrp="1"/>
          </p:cNvSpPr>
          <p:nvPr>
            <p:ph type="title"/>
          </p:nvPr>
        </p:nvSpPr>
        <p:spPr>
          <a:xfrm>
            <a:off x="363985" y="266948"/>
            <a:ext cx="11336784" cy="7145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59" name="Google Shape;59;p14"/>
          <p:cNvSpPr txBox="1">
            <a:spLocks noGrp="1"/>
          </p:cNvSpPr>
          <p:nvPr>
            <p:ph type="dt" idx="10"/>
          </p:nvPr>
        </p:nvSpPr>
        <p:spPr>
          <a:xfrm>
            <a:off x="664233" y="6356351"/>
            <a:ext cx="1269343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60" name="Google Shape;60;p14"/>
          <p:cNvSpPr txBox="1">
            <a:spLocks noGrp="1"/>
          </p:cNvSpPr>
          <p:nvPr>
            <p:ph type="ftr" idx="11"/>
          </p:nvPr>
        </p:nvSpPr>
        <p:spPr>
          <a:xfrm>
            <a:off x="2457450" y="6356351"/>
            <a:ext cx="602932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/>
          </a:p>
        </p:txBody>
      </p:sp>
      <p:sp>
        <p:nvSpPr>
          <p:cNvPr id="61" name="Google Shape;61;p14"/>
          <p:cNvSpPr txBox="1">
            <a:spLocks noGrp="1"/>
          </p:cNvSpPr>
          <p:nvPr>
            <p:ph type="sldNum" idx="12"/>
          </p:nvPr>
        </p:nvSpPr>
        <p:spPr>
          <a:xfrm>
            <a:off x="9009033" y="6356351"/>
            <a:ext cx="127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2" name="Google Shape;62;p14"/>
          <p:cNvSpPr txBox="1">
            <a:spLocks noGrp="1"/>
          </p:cNvSpPr>
          <p:nvPr>
            <p:ph type="body" idx="1"/>
          </p:nvPr>
        </p:nvSpPr>
        <p:spPr>
          <a:xfrm>
            <a:off x="363985" y="5415379"/>
            <a:ext cx="11336784" cy="834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None/>
              <a:defRPr sz="1067"/>
            </a:lvl1pPr>
            <a:lvl2pPr marL="1219170" lvl="1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933"/>
            </a:lvl2pPr>
            <a:lvl3pPr marL="1828754" lvl="2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933"/>
            </a:lvl3pPr>
            <a:lvl4pPr marL="2438339" lvl="3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933"/>
            </a:lvl4pPr>
            <a:lvl5pPr marL="3047924" lvl="4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None/>
              <a:defRPr sz="933"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321258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363985" y="1248397"/>
            <a:ext cx="11336784" cy="406055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EAA5CD6-79E2-4CB6-94F8-76E653C4F5E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  <a:br>
              <a:rPr lang="en-US"/>
            </a:br>
            <a:r>
              <a:rPr lang="en-US"/>
              <a:t>	Not:</a:t>
            </a:r>
            <a:br>
              <a:rPr lang="en-US"/>
            </a:br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E2B050-53BD-4741-A831-73C190D8B0B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94DC9EB-BDC1-4859-BD61-E4566790F636}" type="datetime1">
              <a:rPr lang="sv-SE" smtClean="0"/>
              <a:t>2020-12-14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B325C7-628A-409F-A1A1-1C3AE56E123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F3DBE8-4FF8-4C9D-9342-2ABB683E936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4368524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 not remove" hidden="1">
            <a:extLst>
              <a:ext uri="{FF2B5EF4-FFF2-40B4-BE49-F238E27FC236}">
                <a16:creationId xmlns:a16="http://schemas.microsoft.com/office/drawing/2014/main" id="{07EEE564-6745-4055-97B5-BC4D9DFB8BA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21165F-7436-41C2-8F39-38F8E7BE30F7}" type="datetime1">
              <a:rPr lang="sv-SE" smtClean="0"/>
              <a:t>2020-12-14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3A7659CE-FCF4-46BA-B71E-8609325084B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349656395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8834E7-6CFE-4DBA-9CDB-08A675321505}" type="datetime1">
              <a:rPr lang="sv-SE" smtClean="0"/>
              <a:t>2020-12-14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3EAFF01E-1B98-4A74-93B1-40A92345C2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175418880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379F4-32D1-4AC6-8320-065B8FB63608}" type="datetime1">
              <a:rPr lang="sv-SE" smtClean="0"/>
              <a:t>2020-12-14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ED59D13C-7D03-4C48-834D-3DBFBB46B7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333556369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251659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5EF90A1-D457-4EE1-ABCA-D4C3BEF700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0293" y="774948"/>
            <a:ext cx="11065769" cy="714501"/>
          </a:xfrm>
        </p:spPr>
        <p:txBody>
          <a:bodyPr/>
          <a:lstStyle>
            <a:lvl1pPr>
              <a:defRPr sz="3200"/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0EF2B22C-99B4-4D14-ABBD-85E9A2D14B3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10293" y="2095500"/>
            <a:ext cx="5072062" cy="4305052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5" name="Platshållare för innehåll 3">
            <a:extLst>
              <a:ext uri="{FF2B5EF4-FFF2-40B4-BE49-F238E27FC236}">
                <a16:creationId xmlns:a16="http://schemas.microsoft.com/office/drawing/2014/main" id="{C3A808A8-C128-493E-9965-15ACC8BD4D6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604000" y="2095500"/>
            <a:ext cx="5072062" cy="4305052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159795219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363985" y="1248397"/>
            <a:ext cx="11336784" cy="406055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EAA5CD6-79E2-4CB6-94F8-76E653C4F5E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  <a:br>
              <a:rPr lang="en-US"/>
            </a:br>
            <a:r>
              <a:rPr lang="en-US"/>
              <a:t>	Not:</a:t>
            </a:r>
            <a:br>
              <a:rPr lang="en-US"/>
            </a:br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E2B050-53BD-4741-A831-73C190D8B0B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94DC9EB-BDC1-4859-BD61-E4566790F636}" type="datetime1">
              <a:rPr lang="sv-SE" smtClean="0"/>
              <a:t>2020-12-14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B325C7-628A-409F-A1A1-1C3AE56E123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F3DBE8-4FF8-4C9D-9342-2ABB683E936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6827574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o not remove" hidden="1">
            <a:extLst>
              <a:ext uri="{FF2B5EF4-FFF2-40B4-BE49-F238E27FC236}">
                <a16:creationId xmlns:a16="http://schemas.microsoft.com/office/drawing/2014/main" id="{7B530A05-CAFE-47E5-ABC5-F6F927F368C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21165F-7436-41C2-8F39-38F8E7BE30F7}" type="datetime1">
              <a:rPr lang="sv-SE" smtClean="0"/>
              <a:t>2020-12-14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3A7659CE-FCF4-46BA-B71E-8609325084B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341028308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8834E7-6CFE-4DBA-9CDB-08A675321505}" type="datetime1">
              <a:rPr lang="sv-SE" smtClean="0"/>
              <a:t>2020-12-14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3EAFF01E-1B98-4A74-93B1-40A92345C2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6684725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5EF90A1-D457-4EE1-ABCA-D4C3BEF700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0293" y="774948"/>
            <a:ext cx="11065769" cy="714501"/>
          </a:xfrm>
        </p:spPr>
        <p:txBody>
          <a:bodyPr/>
          <a:lstStyle>
            <a:lvl1pPr>
              <a:defRPr sz="3200"/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0EF2B22C-99B4-4D14-ABBD-85E9A2D14B3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10293" y="2095500"/>
            <a:ext cx="5072062" cy="4305052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5" name="Platshållare för innehåll 3">
            <a:extLst>
              <a:ext uri="{FF2B5EF4-FFF2-40B4-BE49-F238E27FC236}">
                <a16:creationId xmlns:a16="http://schemas.microsoft.com/office/drawing/2014/main" id="{C3A808A8-C128-493E-9965-15ACC8BD4D6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604000" y="2095500"/>
            <a:ext cx="5072062" cy="4305052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98841970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379F4-32D1-4AC6-8320-065B8FB63608}" type="datetime1">
              <a:rPr lang="sv-SE" smtClean="0"/>
              <a:t>2020-12-14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ED59D13C-7D03-4C48-834D-3DBFBB46B7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74205931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4019797-228C-463D-8FE9-E98BF5B9B4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A989FE21-54C8-49F6-B25C-58E1A62FFF7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949449" y="1587500"/>
            <a:ext cx="8293101" cy="461010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145310120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ast rubrik">
  <p:cSld name="1_Endast rubrik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4"/>
          <p:cNvSpPr txBox="1">
            <a:spLocks noGrp="1"/>
          </p:cNvSpPr>
          <p:nvPr>
            <p:ph type="title"/>
          </p:nvPr>
        </p:nvSpPr>
        <p:spPr>
          <a:xfrm>
            <a:off x="363985" y="266948"/>
            <a:ext cx="11336784" cy="7145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14"/>
          <p:cNvSpPr txBox="1">
            <a:spLocks noGrp="1"/>
          </p:cNvSpPr>
          <p:nvPr>
            <p:ph type="dt" idx="10"/>
          </p:nvPr>
        </p:nvSpPr>
        <p:spPr>
          <a:xfrm>
            <a:off x="664233" y="6356351"/>
            <a:ext cx="1269343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14"/>
          <p:cNvSpPr txBox="1">
            <a:spLocks noGrp="1"/>
          </p:cNvSpPr>
          <p:nvPr>
            <p:ph type="ftr" idx="11"/>
          </p:nvPr>
        </p:nvSpPr>
        <p:spPr>
          <a:xfrm>
            <a:off x="2457450" y="6356351"/>
            <a:ext cx="602932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61" name="Google Shape;61;p14"/>
          <p:cNvSpPr txBox="1">
            <a:spLocks noGrp="1"/>
          </p:cNvSpPr>
          <p:nvPr>
            <p:ph type="sldNum" idx="12"/>
          </p:nvPr>
        </p:nvSpPr>
        <p:spPr>
          <a:xfrm>
            <a:off x="9009033" y="6356351"/>
            <a:ext cx="127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62" name="Google Shape;62;p14"/>
          <p:cNvSpPr txBox="1">
            <a:spLocks noGrp="1"/>
          </p:cNvSpPr>
          <p:nvPr>
            <p:ph type="body" idx="1"/>
          </p:nvPr>
        </p:nvSpPr>
        <p:spPr>
          <a:xfrm>
            <a:off x="363985" y="5415379"/>
            <a:ext cx="11336784" cy="834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None/>
              <a:defRPr sz="1067"/>
            </a:lvl1pPr>
            <a:lvl2pPr marL="1219170" lvl="1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933"/>
            </a:lvl2pPr>
            <a:lvl3pPr marL="1828754" lvl="2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933"/>
            </a:lvl3pPr>
            <a:lvl4pPr marL="2438339" lvl="3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933"/>
            </a:lvl4pPr>
            <a:lvl5pPr marL="3047924" lvl="4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None/>
              <a:defRPr sz="933"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0106282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363985" y="1248397"/>
            <a:ext cx="11336784" cy="406055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EAA5CD6-79E2-4CB6-94F8-76E653C4F5E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  <a:br>
              <a:rPr lang="en-US"/>
            </a:br>
            <a:r>
              <a:rPr lang="en-US"/>
              <a:t>	Not:</a:t>
            </a:r>
            <a:br>
              <a:rPr lang="en-US"/>
            </a:br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E2B050-53BD-4741-A831-73C190D8B0B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94DC9EB-BDC1-4859-BD61-E4566790F636}" type="datetime1">
              <a:rPr lang="sv-SE" smtClean="0"/>
              <a:t>2020-12-14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B325C7-628A-409F-A1A1-1C3AE56E123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F3DBE8-4FF8-4C9D-9342-2ABB683E936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7133323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o not remove" hidden="1">
            <a:extLst>
              <a:ext uri="{FF2B5EF4-FFF2-40B4-BE49-F238E27FC236}">
                <a16:creationId xmlns:a16="http://schemas.microsoft.com/office/drawing/2014/main" id="{7B530A05-CAFE-47E5-ABC5-F6F927F368C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21165F-7436-41C2-8F39-38F8E7BE30F7}" type="datetime1">
              <a:rPr lang="sv-SE" smtClean="0"/>
              <a:t>2020-12-14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3A7659CE-FCF4-46BA-B71E-8609325084B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274975386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8834E7-6CFE-4DBA-9CDB-08A675321505}" type="datetime1">
              <a:rPr lang="sv-SE" smtClean="0"/>
              <a:t>2020-12-14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3EAFF01E-1B98-4A74-93B1-40A92345C2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253689090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379F4-32D1-4AC6-8320-065B8FB63608}" type="datetime1">
              <a:rPr lang="sv-SE" smtClean="0"/>
              <a:t>2020-12-14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ED59D13C-7D03-4C48-834D-3DBFBB46B7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227123439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3014546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363985" y="1248397"/>
            <a:ext cx="11336784" cy="406055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636638BA-5DE7-46CF-B526-4E426ED1BE2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sz="1000"/>
            </a:lvl1pPr>
          </a:lstStyle>
          <a:p>
            <a:fld id="{AAEF5DB0-9048-40CF-92BF-8B62DF392E91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2EE064DC-8ED3-4A3E-8D5B-317659F3B7D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sz="1000"/>
            </a:lvl1pPr>
          </a:lstStyle>
          <a:p>
            <a:endParaRPr lang="sv-SE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10C6F6D8-C643-4820-99DE-170A71E0B68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z="1000"/>
            </a:lvl1pPr>
          </a:lstStyle>
          <a:p>
            <a:fld id="{2DBAD975-63FF-4468-AC34-025F73E043F9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EAA5CD6-79E2-4CB6-94F8-76E653C4F5E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386360962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 not remove" hidden="1">
            <a:extLst>
              <a:ext uri="{FF2B5EF4-FFF2-40B4-BE49-F238E27FC236}">
                <a16:creationId xmlns:a16="http://schemas.microsoft.com/office/drawing/2014/main" id="{D71C7C4A-11E8-43F3-8782-E64E33762598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E20C9C-2B61-4720-ABAC-DB688819744C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3A7659CE-FCF4-46BA-B71E-8609325084B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28417140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041E031-5E51-4284-8141-79698707FB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BE0ECFB1-18B8-4F28-A0AE-198A276252C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D2FAD0F6-3AEC-40D3-A95B-186EDC0330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08D429-349F-4ED8-A96F-6623BE5792F5}" type="datetimeFigureOut">
              <a:rPr lang="sv-SE" smtClean="0"/>
              <a:t>2020-12-14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D74051C-0BD6-4C43-AE00-A21682D325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6B003CD1-9B10-402C-A127-AE5E1A930F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BFBC0E-E1B1-43BA-83F2-1B447AF13B4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2989497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0E7C3E-ECB4-423D-B2FC-89C8A8118E33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3EAFF01E-1B98-4A74-93B1-40A92345C2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71509056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07A8C4-AD3E-42E2-823A-E15FFE240929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ED59D13C-7D03-4C48-834D-3DBFBB46B7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384506530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D45150A5-BD94-4621-AE8E-C84438C7886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451100" y="1828800"/>
            <a:ext cx="7531100" cy="342900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Rubrik 5">
            <a:extLst>
              <a:ext uri="{FF2B5EF4-FFF2-40B4-BE49-F238E27FC236}">
                <a16:creationId xmlns:a16="http://schemas.microsoft.com/office/drawing/2014/main" id="{0932F73F-0D00-4F40-AF67-558CA1B3F9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177359763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91DF1CC-E1DB-4226-9A32-DDCCAF9799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5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91DF1CC-E1DB-4226-9A32-DDCCAF9799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D2B3208-4F7C-4F91-87CC-132C1B89BB3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ts val="3265"/>
              </a:lnSpc>
              <a:spcBef>
                <a:spcPct val="0"/>
              </a:spcBef>
              <a:spcAft>
                <a:spcPct val="0"/>
              </a:spcAft>
            </a:pPr>
            <a:endParaRPr lang="sv-SE" sz="2449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Calibri" pitchFamily="34" charset="0"/>
              <a:sym typeface="Arial" panose="020B0604020202020204" pitchFamily="34" charset="0"/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4F1E11B0-2607-4D93-B22E-954D4FF0E892}"/>
              </a:ext>
            </a:extLst>
          </p:cNvPr>
          <p:cNvSpPr/>
          <p:nvPr userDrawn="1"/>
        </p:nvSpPr>
        <p:spPr>
          <a:xfrm>
            <a:off x="0" y="1"/>
            <a:ext cx="12315426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eaLnBrk="1"/>
            <a:endParaRPr lang="sv-SE" sz="1837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BBCEAFC4-C7DF-404A-B86F-FE98DA83594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4414" y="-13931"/>
            <a:ext cx="3158932" cy="3672162"/>
          </a:xfrm>
          <a:prstGeom prst="rect">
            <a:avLst/>
          </a:prstGeom>
        </p:spPr>
      </p:pic>
      <p:sp>
        <p:nvSpPr>
          <p:cNvPr id="5" name="Platshållare för text 4"/>
          <p:cNvSpPr>
            <a:spLocks noGrp="1"/>
          </p:cNvSpPr>
          <p:nvPr>
            <p:ph type="body" sz="quarter" idx="11" hasCustomPrompt="1"/>
          </p:nvPr>
        </p:nvSpPr>
        <p:spPr>
          <a:xfrm>
            <a:off x="400979" y="1130583"/>
            <a:ext cx="11393620" cy="2041183"/>
          </a:xfrm>
        </p:spPr>
        <p:txBody>
          <a:bodyPr>
            <a:spAutoFit/>
          </a:bodyPr>
          <a:lstStyle>
            <a:lvl1pPr>
              <a:spcBef>
                <a:spcPts val="2449"/>
              </a:spcBef>
              <a:spcAft>
                <a:spcPts val="0"/>
              </a:spcAft>
              <a:defRPr sz="2449"/>
            </a:lvl1pPr>
            <a:lvl2pPr>
              <a:spcBef>
                <a:spcPts val="816"/>
              </a:spcBef>
              <a:spcAft>
                <a:spcPts val="0"/>
              </a:spcAft>
              <a:defRPr sz="2449"/>
            </a:lvl2pPr>
            <a:lvl3pPr>
              <a:defRPr sz="2449"/>
            </a:lvl3pPr>
            <a:lvl4pPr>
              <a:spcAft>
                <a:spcPts val="0"/>
              </a:spcAft>
              <a:defRPr sz="2449"/>
            </a:lvl4pPr>
            <a:lvl5pPr>
              <a:spcAft>
                <a:spcPts val="0"/>
              </a:spcAft>
              <a:defRPr sz="2449"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5840892" y="6582876"/>
            <a:ext cx="54261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224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‹#›</a:t>
            </a:fld>
            <a:r>
              <a:rPr lang="sv-SE" dirty="0"/>
              <a:t> 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99353" y="6582878"/>
            <a:ext cx="5387373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 eaLnBrk="1">
              <a:defRPr lang="en-GB" sz="1224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Rubrik 1">
            <a:extLst>
              <a:ext uri="{FF2B5EF4-FFF2-40B4-BE49-F238E27FC236}">
                <a16:creationId xmlns:a16="http://schemas.microsoft.com/office/drawing/2014/main" id="{65098DCC-91A7-47BE-96F3-1D760D55F1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980" y="497312"/>
            <a:ext cx="9750185" cy="39678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n-GB" dirty="0"/>
            </a:lvl1pPr>
          </a:lstStyle>
          <a:p>
            <a:pPr lvl="0">
              <a:lnSpc>
                <a:spcPts val="3265"/>
              </a:lnSpc>
            </a:pPr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234436570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ACDAFA1-A72F-41CE-9646-2DA8664926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82" name="think-cell Slide" r:id="rId7" imgW="524" imgH="526" progId="TCLayout.ActiveDocument.1">
                  <p:embed/>
                </p:oleObj>
              </mc:Choice>
              <mc:Fallback>
                <p:oleObj name="think-cell Slide" r:id="rId7" imgW="524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ACDAFA1-A72F-41CE-9646-2DA8664926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43EC533-70CB-4A87-BC9B-BFF74D0497D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ts val="3265"/>
              </a:lnSpc>
              <a:spcBef>
                <a:spcPct val="0"/>
              </a:spcBef>
              <a:spcAft>
                <a:spcPct val="0"/>
              </a:spcAft>
            </a:pPr>
            <a:endParaRPr lang="sv-SE" sz="2449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Calibri" pitchFamily="34" charset="0"/>
              <a:sym typeface="Arial" panose="020B0604020202020204" pitchFamily="34" charset="0"/>
            </a:endParaRPr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968ABED3-CC71-450B-BC59-BD6EEABBCAAE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eaLnBrk="1"/>
            <a:endParaRPr lang="sv-SE" sz="1837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1D5731A2-AA39-4A14-8F91-E73036A29191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4414" y="-13931"/>
            <a:ext cx="3158932" cy="3672162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00980" y="497312"/>
            <a:ext cx="9750185" cy="39678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n-GB" dirty="0"/>
            </a:lvl1pPr>
          </a:lstStyle>
          <a:p>
            <a:pPr lvl="0">
              <a:lnSpc>
                <a:spcPts val="3265"/>
              </a:lnSpc>
            </a:pPr>
            <a:r>
              <a:rPr lang="sv-SE"/>
              <a:t>Klicka här för att ändra mall för rubrikformat</a:t>
            </a:r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5840892" y="6584559"/>
            <a:ext cx="54261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224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‹#›</a:t>
            </a:fld>
            <a:r>
              <a:rPr lang="sv-SE" dirty="0"/>
              <a:t> 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99353" y="6584560"/>
            <a:ext cx="5387373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 eaLnBrk="1">
              <a:defRPr lang="en-GB" sz="1224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 hasCustomPrompt="1"/>
            <p:custDataLst>
              <p:tags r:id="rId4"/>
            </p:custDataLst>
          </p:nvPr>
        </p:nvSpPr>
        <p:spPr>
          <a:xfrm>
            <a:off x="399117" y="942226"/>
            <a:ext cx="9751779" cy="31402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041" i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99561" y="5887773"/>
            <a:ext cx="11395038" cy="510219"/>
          </a:xfrm>
        </p:spPr>
        <p:txBody>
          <a:bodyPr anchor="b" anchorCtr="0"/>
          <a:lstStyle>
            <a:lvl1pPr marL="837981" indent="-837981" defTabSz="853099">
              <a:lnSpc>
                <a:spcPts val="1224"/>
              </a:lnSpc>
              <a:spcAft>
                <a:spcPts val="0"/>
              </a:spcAft>
              <a:tabLst>
                <a:tab pos="639284" algn="r"/>
                <a:tab pos="853099" algn="l"/>
              </a:tabLst>
              <a:defRPr sz="1224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837981" lvl="0" indent="-837981" defTabSz="853099">
              <a:lnSpc>
                <a:spcPts val="1360"/>
              </a:lnSpc>
              <a:spcAft>
                <a:spcPts val="0"/>
              </a:spcAft>
              <a:tabLst>
                <a:tab pos="639284" algn="r"/>
                <a:tab pos="853099" algn="l"/>
              </a:tabLst>
            </a:pPr>
            <a:r>
              <a:rPr lang="sv-SE" sz="1360">
                <a:ea typeface="Verdana" pitchFamily="34" charset="0"/>
                <a:cs typeface="Verdana" pitchFamily="34" charset="0"/>
              </a:rPr>
              <a:t>	Not:	</a:t>
            </a:r>
            <a:r>
              <a:rPr lang="sv-SE" sz="1360" err="1">
                <a:ea typeface="Verdana" pitchFamily="34" charset="0"/>
                <a:cs typeface="Verdana" pitchFamily="34" charset="0"/>
              </a:rPr>
              <a:t>xxxxxx</a:t>
            </a:r>
            <a:endParaRPr lang="sv-SE" sz="1360">
              <a:ea typeface="Verdana" pitchFamily="34" charset="0"/>
              <a:cs typeface="Verdana" pitchFamily="34" charset="0"/>
            </a:endParaRPr>
          </a:p>
          <a:p>
            <a:pPr marL="837981" lvl="0" indent="-837981" defTabSz="853099">
              <a:lnSpc>
                <a:spcPts val="1360"/>
              </a:lnSpc>
              <a:spcAft>
                <a:spcPts val="0"/>
              </a:spcAft>
              <a:tabLst>
                <a:tab pos="639284" algn="r"/>
                <a:tab pos="853099" algn="l"/>
              </a:tabLst>
            </a:pPr>
            <a:r>
              <a:rPr lang="sv-SE" sz="136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837981" lvl="0" indent="-837981" defTabSz="853099">
              <a:lnSpc>
                <a:spcPts val="1360"/>
              </a:lnSpc>
              <a:spcAft>
                <a:spcPts val="0"/>
              </a:spcAft>
              <a:tabLst>
                <a:tab pos="639284" algn="r"/>
                <a:tab pos="853099" algn="l"/>
              </a:tabLst>
            </a:pPr>
            <a:r>
              <a:rPr lang="sv-SE" sz="136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360" err="1">
                <a:ea typeface="Verdana" pitchFamily="34" charset="0"/>
                <a:cs typeface="Verdana" pitchFamily="34" charset="0"/>
              </a:rPr>
              <a:t>xxxx</a:t>
            </a:r>
            <a:endParaRPr lang="sv-SE" sz="1360"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976416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ast rubrik">
  <p:cSld name="1_Endast rubrik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4"/>
          <p:cNvSpPr txBox="1">
            <a:spLocks noGrp="1"/>
          </p:cNvSpPr>
          <p:nvPr>
            <p:ph type="title"/>
          </p:nvPr>
        </p:nvSpPr>
        <p:spPr>
          <a:xfrm>
            <a:off x="363985" y="266948"/>
            <a:ext cx="11336784" cy="7145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14"/>
          <p:cNvSpPr txBox="1">
            <a:spLocks noGrp="1"/>
          </p:cNvSpPr>
          <p:nvPr>
            <p:ph type="dt" idx="10"/>
          </p:nvPr>
        </p:nvSpPr>
        <p:spPr>
          <a:xfrm>
            <a:off x="664233" y="6356351"/>
            <a:ext cx="1269343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60" name="Google Shape;60;p14"/>
          <p:cNvSpPr txBox="1">
            <a:spLocks noGrp="1"/>
          </p:cNvSpPr>
          <p:nvPr>
            <p:ph type="ftr" idx="11"/>
          </p:nvPr>
        </p:nvSpPr>
        <p:spPr>
          <a:xfrm>
            <a:off x="2457450" y="6356351"/>
            <a:ext cx="602932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61" name="Google Shape;61;p14"/>
          <p:cNvSpPr txBox="1">
            <a:spLocks noGrp="1"/>
          </p:cNvSpPr>
          <p:nvPr>
            <p:ph type="sldNum" idx="12"/>
          </p:nvPr>
        </p:nvSpPr>
        <p:spPr>
          <a:xfrm>
            <a:off x="9009033" y="6356351"/>
            <a:ext cx="127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sv" smtClean="0"/>
              <a:pPr/>
              <a:t>‹#›</a:t>
            </a:fld>
            <a:endParaRPr lang="sv"/>
          </a:p>
        </p:txBody>
      </p:sp>
      <p:sp>
        <p:nvSpPr>
          <p:cNvPr id="62" name="Google Shape;62;p14"/>
          <p:cNvSpPr txBox="1">
            <a:spLocks noGrp="1"/>
          </p:cNvSpPr>
          <p:nvPr>
            <p:ph type="body" idx="1"/>
          </p:nvPr>
        </p:nvSpPr>
        <p:spPr>
          <a:xfrm>
            <a:off x="363985" y="5415379"/>
            <a:ext cx="11336784" cy="834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None/>
              <a:defRPr sz="1067"/>
            </a:lvl1pPr>
            <a:lvl2pPr marL="1219170" lvl="1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933"/>
            </a:lvl2pPr>
            <a:lvl3pPr marL="1828754" lvl="2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933"/>
            </a:lvl3pPr>
            <a:lvl4pPr marL="2438339" lvl="3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933"/>
            </a:lvl4pPr>
            <a:lvl5pPr marL="3047924" lvl="4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None/>
              <a:defRPr sz="933"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3850049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Rubri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6000" y="2747964"/>
            <a:ext cx="9608400" cy="1966912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rgbClr val="222221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222221"/>
                </a:solidFill>
              </a:defRPr>
            </a:lvl1pPr>
          </a:lstStyle>
          <a:p>
            <a:fld id="{4B42D259-ACB8-4FD1-AC0F-9CAC8F5E07E0}" type="datetimeFigureOut">
              <a:rPr lang="sv-SE" smtClean="0"/>
              <a:pPr/>
              <a:t>2020-12-14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2222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22221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 dirty="0"/>
          </a:p>
        </p:txBody>
      </p:sp>
      <p:pic>
        <p:nvPicPr>
          <p:cNvPr id="7" name="Bildobjekt 6" descr="En bild som visar ritning&#10;&#10;Automatiskt genererad beskrivning">
            <a:extLst>
              <a:ext uri="{FF2B5EF4-FFF2-40B4-BE49-F238E27FC236}">
                <a16:creationId xmlns:a16="http://schemas.microsoft.com/office/drawing/2014/main" id="{DC4C474C-256C-4F69-82DB-E30D2C1C09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0052" y="6211021"/>
            <a:ext cx="992904" cy="41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1836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BB74C27B-DC3B-42D7-9C91-85B4643D24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D89843D6-1377-4521-A13C-1830FAD6B3D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A219156-45F3-42C6-9580-26D88DC54D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08D429-349F-4ED8-A96F-6623BE5792F5}" type="datetimeFigureOut">
              <a:rPr lang="sv-SE" smtClean="0"/>
              <a:t>2020-12-14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C5BEB4C-C96C-4908-9BA4-D61EDA17EE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44A7B425-E9EC-4FE9-8691-6BB2BBDEBF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BFBC0E-E1B1-43BA-83F2-1B447AF13B4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867108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0.v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63.xml"/><Relationship Id="rId7" Type="http://schemas.openxmlformats.org/officeDocument/2006/relationships/theme" Target="../theme/theme10.xml"/><Relationship Id="rId12" Type="http://schemas.openxmlformats.org/officeDocument/2006/relationships/image" Target="../media/image7.emf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oleObject" Target="../embeddings/oleObject10.bin"/><Relationship Id="rId5" Type="http://schemas.openxmlformats.org/officeDocument/2006/relationships/slideLayout" Target="../slideLayouts/slideLayout65.xml"/><Relationship Id="rId10" Type="http://schemas.openxmlformats.org/officeDocument/2006/relationships/tags" Target="../tags/tag22.xml"/><Relationship Id="rId4" Type="http://schemas.openxmlformats.org/officeDocument/2006/relationships/slideLayout" Target="../slideLayouts/slideLayout64.xml"/><Relationship Id="rId9" Type="http://schemas.openxmlformats.org/officeDocument/2006/relationships/tags" Target="../tags/tag21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1.v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69.xml"/><Relationship Id="rId7" Type="http://schemas.openxmlformats.org/officeDocument/2006/relationships/theme" Target="../theme/theme11.xml"/><Relationship Id="rId12" Type="http://schemas.openxmlformats.org/officeDocument/2006/relationships/image" Target="../media/image7.emf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oleObject" Target="../embeddings/oleObject11.bin"/><Relationship Id="rId5" Type="http://schemas.openxmlformats.org/officeDocument/2006/relationships/slideLayout" Target="../slideLayouts/slideLayout71.xml"/><Relationship Id="rId10" Type="http://schemas.openxmlformats.org/officeDocument/2006/relationships/tags" Target="../tags/tag25.xml"/><Relationship Id="rId4" Type="http://schemas.openxmlformats.org/officeDocument/2006/relationships/slideLayout" Target="../slideLayouts/slideLayout70.xml"/><Relationship Id="rId9" Type="http://schemas.openxmlformats.org/officeDocument/2006/relationships/tags" Target="../tags/tag24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3" Type="http://schemas.openxmlformats.org/officeDocument/2006/relationships/slideLayout" Target="../slideLayouts/slideLayout75.xml"/><Relationship Id="rId7" Type="http://schemas.openxmlformats.org/officeDocument/2006/relationships/vmlDrawing" Target="../drawings/vmlDrawing12.v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theme" Target="../theme/theme12.xml"/><Relationship Id="rId11" Type="http://schemas.openxmlformats.org/officeDocument/2006/relationships/image" Target="../media/image7.emf"/><Relationship Id="rId5" Type="http://schemas.openxmlformats.org/officeDocument/2006/relationships/slideLayout" Target="../slideLayouts/slideLayout77.xml"/><Relationship Id="rId10" Type="http://schemas.openxmlformats.org/officeDocument/2006/relationships/oleObject" Target="../embeddings/oleObject12.bin"/><Relationship Id="rId4" Type="http://schemas.openxmlformats.org/officeDocument/2006/relationships/slideLayout" Target="../slideLayouts/slideLayout76.xml"/><Relationship Id="rId9" Type="http://schemas.openxmlformats.org/officeDocument/2006/relationships/tags" Target="../tags/tag28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tags" Target="../tags/tag31.x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tags" Target="../tags/tag30.xml"/><Relationship Id="rId2" Type="http://schemas.openxmlformats.org/officeDocument/2006/relationships/slideLayout" Target="../slideLayouts/slideLayout79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vmlDrawing" Target="../drawings/vmlDrawing13.vml"/><Relationship Id="rId5" Type="http://schemas.openxmlformats.org/officeDocument/2006/relationships/slideLayout" Target="../slideLayouts/slideLayout82.xml"/><Relationship Id="rId15" Type="http://schemas.openxmlformats.org/officeDocument/2006/relationships/image" Target="../media/image7.emf"/><Relationship Id="rId10" Type="http://schemas.openxmlformats.org/officeDocument/2006/relationships/theme" Target="../theme/theme13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oleObject" Target="../embeddings/oleObject13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27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8.png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theme" Target="../theme/theme5.xml"/><Relationship Id="rId11" Type="http://schemas.openxmlformats.org/officeDocument/2006/relationships/image" Target="../media/image7.emf"/><Relationship Id="rId5" Type="http://schemas.openxmlformats.org/officeDocument/2006/relationships/slideLayout" Target="../slideLayouts/slideLayout29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28.xml"/><Relationship Id="rId9" Type="http://schemas.openxmlformats.org/officeDocument/2006/relationships/tags" Target="../tags/tag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34.xml"/><Relationship Id="rId15" Type="http://schemas.openxmlformats.org/officeDocument/2006/relationships/image" Target="../media/image1.png"/><Relationship Id="rId10" Type="http://schemas.openxmlformats.org/officeDocument/2006/relationships/vmlDrawing" Target="../drawings/vmlDrawing2.vml"/><Relationship Id="rId4" Type="http://schemas.openxmlformats.org/officeDocument/2006/relationships/slideLayout" Target="../slideLayouts/slideLayout33.xml"/><Relationship Id="rId9" Type="http://schemas.openxmlformats.org/officeDocument/2006/relationships/theme" Target="../theme/theme6.xml"/><Relationship Id="rId14" Type="http://schemas.openxmlformats.org/officeDocument/2006/relationships/image" Target="../media/image7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5" Type="http://schemas.openxmlformats.org/officeDocument/2006/relationships/slideLayout" Target="../slideLayouts/slideLayout42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1.xml"/><Relationship Id="rId9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tags" Target="../tags/tag11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tags" Target="../tags/tag10.xml"/><Relationship Id="rId2" Type="http://schemas.openxmlformats.org/officeDocument/2006/relationships/slideLayout" Target="../slideLayouts/slideLayout47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vmlDrawing" Target="../drawings/vmlDrawing5.vml"/><Relationship Id="rId5" Type="http://schemas.openxmlformats.org/officeDocument/2006/relationships/slideLayout" Target="../slideLayouts/slideLayout50.xml"/><Relationship Id="rId15" Type="http://schemas.openxmlformats.org/officeDocument/2006/relationships/image" Target="../media/image7.emf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oleObject" Target="../embeddings/oleObject5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8.v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57.xml"/><Relationship Id="rId7" Type="http://schemas.openxmlformats.org/officeDocument/2006/relationships/theme" Target="../theme/theme9.xml"/><Relationship Id="rId12" Type="http://schemas.openxmlformats.org/officeDocument/2006/relationships/image" Target="../media/image7.emf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oleObject" Target="../embeddings/oleObject8.bin"/><Relationship Id="rId5" Type="http://schemas.openxmlformats.org/officeDocument/2006/relationships/slideLayout" Target="../slideLayouts/slideLayout59.xml"/><Relationship Id="rId10" Type="http://schemas.openxmlformats.org/officeDocument/2006/relationships/tags" Target="../tags/tag18.xml"/><Relationship Id="rId4" Type="http://schemas.openxmlformats.org/officeDocument/2006/relationships/slideLayout" Target="../slideLayouts/slideLayout58.xml"/><Relationship Id="rId9" Type="http://schemas.openxmlformats.org/officeDocument/2006/relationships/tags" Target="../tags/tag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objekt 10">
            <a:extLst>
              <a:ext uri="{FF2B5EF4-FFF2-40B4-BE49-F238E27FC236}">
                <a16:creationId xmlns:a16="http://schemas.microsoft.com/office/drawing/2014/main" id="{C376CDD0-9A3E-4D42-A72D-71F6AEC57F5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363985" y="266948"/>
            <a:ext cx="11336784" cy="71450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363985" y="1248397"/>
            <a:ext cx="11336784" cy="316380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64232" y="6356350"/>
            <a:ext cx="12693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61BD1D3D-8608-464E-ABEC-19213B063747}" type="datetime1">
              <a:rPr lang="sv-SE" smtClean="0"/>
              <a:t>2020-12-14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9009033" y="6356350"/>
            <a:ext cx="127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80A6DF2-AD69-4049-9EB7-4B970FC31B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/>
              <a:t>ARBETSMATERIAL</a:t>
            </a:r>
          </a:p>
        </p:txBody>
      </p:sp>
    </p:spTree>
    <p:extLst>
      <p:ext uri="{BB962C8B-B14F-4D97-AF65-F5344CB8AC3E}">
        <p14:creationId xmlns:p14="http://schemas.microsoft.com/office/powerpoint/2010/main" val="19971489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8" r:id="rId2"/>
    <p:sldLayoutId id="2147483669" r:id="rId3"/>
    <p:sldLayoutId id="2147483670" r:id="rId4"/>
    <p:sldLayoutId id="2147483705" r:id="rId5"/>
    <p:sldLayoutId id="2147483713" r:id="rId6"/>
    <p:sldLayoutId id="2147483818" r:id="rId7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8763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pos="3840">
          <p15:clr>
            <a:srgbClr val="F26B43"/>
          </p15:clr>
        </p15:guide>
        <p15:guide id="10" orient="horz" pos="2160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20A3554-5FA0-49D5-AFDC-662E1360A0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030147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2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20A3554-5FA0-49D5-AFDC-662E1360A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01B19E1-FC66-4C5B-BC13-B97EDF06823B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4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C376CDD0-9A3E-4D42-A72D-71F6AEC57F58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363985" y="266948"/>
            <a:ext cx="11336784" cy="71450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363985" y="1248397"/>
            <a:ext cx="11336784" cy="316380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64232" y="6356350"/>
            <a:ext cx="12693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386C7D22-F85E-44C7-8EE5-1A0D114338E3}" type="datetime1">
              <a:rPr lang="sv-SE" smtClean="0"/>
              <a:t>2020-12-14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sv-SE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9009033" y="6356350"/>
            <a:ext cx="127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95915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820" r:id="rId6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8763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pos="3840">
          <p15:clr>
            <a:srgbClr val="F26B43"/>
          </p15:clr>
        </p15:guide>
        <p15:guide id="10" orient="horz" pos="216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20A3554-5FA0-49D5-AFDC-662E1360A0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590892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5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20A3554-5FA0-49D5-AFDC-662E1360A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01B19E1-FC66-4C5B-BC13-B97EDF06823B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4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C376CDD0-9A3E-4D42-A72D-71F6AEC57F58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363985" y="266948"/>
            <a:ext cx="11336784" cy="71450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363985" y="1248397"/>
            <a:ext cx="11336784" cy="316380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64232" y="6356350"/>
            <a:ext cx="12693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386C7D22-F85E-44C7-8EE5-1A0D114338E3}" type="datetime1">
              <a:rPr lang="sv-SE" smtClean="0"/>
              <a:t>2020-12-14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sv-SE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9009033" y="6356350"/>
            <a:ext cx="127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16352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8763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pos="3840">
          <p15:clr>
            <a:srgbClr val="F26B43"/>
          </p15:clr>
        </p15:guide>
        <p15:guide id="10" orient="horz" pos="2160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20A3554-5FA0-49D5-AFDC-662E1360A0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9863556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3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20A3554-5FA0-49D5-AFDC-662E1360A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01B19E1-FC66-4C5B-BC13-B97EDF06823B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4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C376CDD0-9A3E-4D42-A72D-71F6AEC57F58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363985" y="266948"/>
            <a:ext cx="11336784" cy="71450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363985" y="1248397"/>
            <a:ext cx="11336784" cy="316380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64232" y="6356350"/>
            <a:ext cx="12693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386C7D22-F85E-44C7-8EE5-1A0D114338E3}" type="datetime1">
              <a:rPr lang="sv-SE" smtClean="0"/>
              <a:t>2020-12-14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sv-SE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9009033" y="6356350"/>
            <a:ext cx="127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33096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8763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pos="3840">
          <p15:clr>
            <a:srgbClr val="F26B43"/>
          </p15:clr>
        </p15:guide>
        <p15:guide id="10" orient="horz" pos="2160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5A02BEA-74FB-45BF-A9A5-0FB3A51880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34"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5A02BEA-74FB-45BF-A9A5-0FB3A51880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1551139-6AC8-4771-BFEA-2ED2A55245E7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C376CDD0-9A3E-4D42-A72D-71F6AEC57F58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363985" y="266948"/>
            <a:ext cx="11336784" cy="71450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363985" y="1248397"/>
            <a:ext cx="11336784" cy="316380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64232" y="6356350"/>
            <a:ext cx="12693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4FA9C194-28C8-4402-9FFE-73E11B002EE5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9009033" y="6356350"/>
            <a:ext cx="127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385645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  <p:sldLayoutId id="2147483804" r:id="rId9"/>
  </p:sldLayoutIdLst>
  <p:hf hdr="0" ft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8763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pos="3840">
          <p15:clr>
            <a:srgbClr val="F26B43"/>
          </p15:clr>
        </p15:guide>
        <p15:guide id="10" orient="horz" pos="216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4B6B7EF5-111D-4CF6-9099-AC75B1902E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8827DB97-C817-4ECE-8F00-350868264F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BD6E869-DC4F-43C3-A2AD-A75CE6D25F6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08D429-349F-4ED8-A96F-6623BE5792F5}" type="datetimeFigureOut">
              <a:rPr lang="sv-SE" smtClean="0"/>
              <a:t>2020-12-14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81CB97E-8652-4AAD-BD8F-A6D0964346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F37F87CE-B568-4BFE-A980-E26B506AAD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BFBC0E-E1B1-43BA-83F2-1B447AF13B4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39589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  <p:sldLayoutId id="2147483810" r:id="rId5"/>
    <p:sldLayoutId id="2147483811" r:id="rId6"/>
    <p:sldLayoutId id="2147483812" r:id="rId7"/>
    <p:sldLayoutId id="2147483813" r:id="rId8"/>
    <p:sldLayoutId id="2147483814" r:id="rId9"/>
    <p:sldLayoutId id="2147483815" r:id="rId10"/>
    <p:sldLayoutId id="214748381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2E2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64232" y="6356350"/>
            <a:ext cx="12693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fld id="{116A8BD5-67AB-4676-99E3-CB5DC620FCFB}" type="datetime1">
              <a:rPr lang="sv-SE" smtClean="0"/>
              <a:t>2020-12-14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</a:defRPr>
            </a:lvl1pPr>
          </a:lstStyle>
          <a:p>
            <a:r>
              <a:rPr lang="sv-SE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9009033" y="6356350"/>
            <a:ext cx="127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10" name="Bildobjekt 9"/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8" y="-9524"/>
            <a:ext cx="3096000" cy="3599059"/>
          </a:xfrm>
          <a:prstGeom prst="rect">
            <a:avLst/>
          </a:prstGeom>
        </p:spPr>
      </p:pic>
      <p:pic>
        <p:nvPicPr>
          <p:cNvPr id="8" name="Bildobjekt 7" descr="En bild som visar ritning&#10;&#10;Automatiskt genererad beskrivning">
            <a:extLst>
              <a:ext uri="{FF2B5EF4-FFF2-40B4-BE49-F238E27FC236}">
                <a16:creationId xmlns:a16="http://schemas.microsoft.com/office/drawing/2014/main" id="{05E2CB7E-A3C4-4B87-A60A-A968FF73A4B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4171" y="388536"/>
            <a:ext cx="1175965" cy="486066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65BAB9C-6D70-4AFF-8169-61370EDA8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504A32-0253-4454-AFF6-2E54717DB4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66463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684" r:id="rId2"/>
    <p:sldLayoutId id="2147483685" r:id="rId3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4400" b="1" kern="1200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258763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"/>
        <a:defRPr sz="1800" kern="1200">
          <a:solidFill>
            <a:srgbClr val="FFFFFF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600" kern="1200">
          <a:solidFill>
            <a:srgbClr val="FFFFFF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400" kern="1200">
          <a:solidFill>
            <a:srgbClr val="FFFFFF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400" kern="1200">
          <a:solidFill>
            <a:srgbClr val="FFFFFF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400" kern="1200">
          <a:solidFill>
            <a:srgbClr val="FFFFFF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pos="3840">
          <p15:clr>
            <a:srgbClr val="F26B43"/>
          </p15:clr>
        </p15:guide>
        <p15:guide id="10" orient="horz" pos="216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2E2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64232" y="6356350"/>
            <a:ext cx="12693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fld id="{90E50D4F-2952-468F-AB6B-805789DA9FB5}" type="datetime1">
              <a:rPr lang="sv-SE" smtClean="0"/>
              <a:t>2020-12-14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</a:defRPr>
            </a:lvl1pPr>
          </a:lstStyle>
          <a:p>
            <a:r>
              <a:rPr lang="sv-SE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9009033" y="6356350"/>
            <a:ext cx="127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10" name="Bildobjekt 9"/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8" y="-9524"/>
            <a:ext cx="3096000" cy="3599059"/>
          </a:xfrm>
          <a:prstGeom prst="rect">
            <a:avLst/>
          </a:prstGeom>
        </p:spPr>
      </p:pic>
      <p:pic>
        <p:nvPicPr>
          <p:cNvPr id="8" name="Bildobjekt 7" descr="En bild som visar ritning&#10;&#10;Automatiskt genererad beskrivning">
            <a:extLst>
              <a:ext uri="{FF2B5EF4-FFF2-40B4-BE49-F238E27FC236}">
                <a16:creationId xmlns:a16="http://schemas.microsoft.com/office/drawing/2014/main" id="{05E2CB7E-A3C4-4B87-A60A-A968FF73A4B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4171" y="388536"/>
            <a:ext cx="1175965" cy="486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59134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4400" b="1" kern="1200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258763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"/>
        <a:defRPr sz="1800" kern="1200">
          <a:solidFill>
            <a:srgbClr val="FFFFFF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600" kern="1200">
          <a:solidFill>
            <a:srgbClr val="FFFFFF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400" kern="1200">
          <a:solidFill>
            <a:srgbClr val="FFFFFF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400" kern="1200">
          <a:solidFill>
            <a:srgbClr val="FFFFFF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400" kern="1200">
          <a:solidFill>
            <a:srgbClr val="FFFFFF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pos="3840">
          <p15:clr>
            <a:srgbClr val="F26B43"/>
          </p15:clr>
        </p15:guide>
        <p15:guide id="10" orient="horz" pos="216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20A3554-5FA0-49D5-AFDC-662E1360A0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728809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3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20A3554-5FA0-49D5-AFDC-662E1360A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01B19E1-FC66-4C5B-BC13-B97EDF06823B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4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C376CDD0-9A3E-4D42-A72D-71F6AEC57F58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363985" y="266948"/>
            <a:ext cx="11336784" cy="71450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363985" y="1248397"/>
            <a:ext cx="11336784" cy="316380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64232" y="6356350"/>
            <a:ext cx="12693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4511202F-7344-4B8D-9D25-210F58B54688}" type="datetime1">
              <a:rPr lang="sv-SE" smtClean="0"/>
              <a:t>2020-12-14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sv-SE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9009033" y="6356350"/>
            <a:ext cx="127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50891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8763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pos="3840">
          <p15:clr>
            <a:srgbClr val="F26B43"/>
          </p15:clr>
        </p15:guide>
        <p15:guide id="10" orient="horz" pos="216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DE20002-D980-49BB-B514-335AEE82A8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868808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7" name="think-cell Slide" r:id="rId13" imgW="395" imgH="394" progId="TCLayout.ActiveDocument.1">
                  <p:embed/>
                </p:oleObj>
              </mc:Choice>
              <mc:Fallback>
                <p:oleObj name="think-cell Slide" r:id="rId1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DE20002-D980-49BB-B514-335AEE82A8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1ECFF40-A12D-42F9-AC18-36EE744C9473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C376CDD0-9A3E-4D42-A72D-71F6AEC57F58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363985" y="266948"/>
            <a:ext cx="11336784" cy="71450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363985" y="1248397"/>
            <a:ext cx="11336784" cy="316380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64232" y="6356350"/>
            <a:ext cx="12693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6E411BB5-B653-4B56-90DF-E966CDCB58DE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9009033" y="6356350"/>
            <a:ext cx="127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80A6DF2-AD69-4049-9EB7-4B970FC31B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73079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</p:sldLayoutIdLst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8763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pos="3840">
          <p15:clr>
            <a:srgbClr val="F26B43"/>
          </p15:clr>
        </p15:guide>
        <p15:guide id="10" orient="horz" pos="216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objekt 10">
            <a:extLst>
              <a:ext uri="{FF2B5EF4-FFF2-40B4-BE49-F238E27FC236}">
                <a16:creationId xmlns:a16="http://schemas.microsoft.com/office/drawing/2014/main" id="{C376CDD0-9A3E-4D42-A72D-71F6AEC57F5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363985" y="266948"/>
            <a:ext cx="11336784" cy="71450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363985" y="1248397"/>
            <a:ext cx="11336784" cy="316380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64232" y="6356350"/>
            <a:ext cx="12693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6E411BB5-B653-4B56-90DF-E966CDCB58DE}" type="datetime1">
              <a:rPr lang="sv-SE" smtClean="0"/>
              <a:t>2020-12-14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9009033" y="6356350"/>
            <a:ext cx="127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80A6DF2-AD69-4049-9EB7-4B970FC31B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7555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6" r:id="rId6"/>
    <p:sldLayoutId id="2147483735" r:id="rId7"/>
    <p:sldLayoutId id="2147483819" r:id="rId8"/>
  </p:sldLayoutIdLst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8763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pos="3840">
          <p15:clr>
            <a:srgbClr val="F26B43"/>
          </p15:clr>
        </p15:guide>
        <p15:guide id="10" orient="horz" pos="216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DE20002-D980-49BB-B514-335AEE82A8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03542054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1"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DE20002-D980-49BB-B514-335AEE82A8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1ECFF40-A12D-42F9-AC18-36EE744C9473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C376CDD0-9A3E-4D42-A72D-71F6AEC57F58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363985" y="266948"/>
            <a:ext cx="11336784" cy="71450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363985" y="1248398"/>
            <a:ext cx="11336784" cy="316380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64234" y="6356351"/>
            <a:ext cx="12693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0502BF50-89C8-43FF-956D-44360304DC9F}" type="datetime1">
              <a:rPr lang="sv-SE" smtClean="0"/>
              <a:t>2020-12-14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9009033" y="6356351"/>
            <a:ext cx="127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80A6DF2-AD69-4049-9EB7-4B970FC31B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/>
              <a:t>ARBETSMATERIAL</a:t>
            </a:r>
          </a:p>
        </p:txBody>
      </p:sp>
    </p:spTree>
    <p:extLst>
      <p:ext uri="{BB962C8B-B14F-4D97-AF65-F5344CB8AC3E}">
        <p14:creationId xmlns:p14="http://schemas.microsoft.com/office/powerpoint/2010/main" val="793568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817" r:id="rId9"/>
  </p:sldLayoutIdLst>
  <p:hf hdr="0" ftr="0" dt="0"/>
  <p:txStyles>
    <p:titleStyle>
      <a:lvl1pPr algn="l" defTabSz="914377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8756" indent="-228594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pos="3840">
          <p15:clr>
            <a:srgbClr val="F26B43"/>
          </p15:clr>
        </p15:guide>
        <p15:guide id="10" orient="horz" pos="216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20A3554-5FA0-49D5-AFDC-662E1360A0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994952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3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20A3554-5FA0-49D5-AFDC-662E1360A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01B19E1-FC66-4C5B-BC13-B97EDF06823B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4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C376CDD0-9A3E-4D42-A72D-71F6AEC57F58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363985" y="266948"/>
            <a:ext cx="11336784" cy="71450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363985" y="1248397"/>
            <a:ext cx="11336784" cy="316380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64232" y="6356350"/>
            <a:ext cx="12693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386C7D22-F85E-44C7-8EE5-1A0D114338E3}" type="datetime1">
              <a:rPr lang="sv-SE" smtClean="0"/>
              <a:t>2020-12-14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sv-SE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9009033" y="6356350"/>
            <a:ext cx="127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52569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8763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pos="3840">
          <p15:clr>
            <a:srgbClr val="F26B43"/>
          </p15:clr>
        </p15:guide>
        <p15:guide id="10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9.xml"/><Relationship Id="rId5" Type="http://schemas.openxmlformats.org/officeDocument/2006/relationships/image" Target="../media/image25.png"/><Relationship Id="rId4" Type="http://schemas.openxmlformats.org/officeDocument/2006/relationships/image" Target="../media/image24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7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5.xml"/><Relationship Id="rId2" Type="http://schemas.openxmlformats.org/officeDocument/2006/relationships/tags" Target="../tags/tag4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7.bin"/><Relationship Id="rId4" Type="http://schemas.openxmlformats.org/officeDocument/2006/relationships/image" Target="../media/image32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66.xml"/><Relationship Id="rId6" Type="http://schemas.openxmlformats.org/officeDocument/2006/relationships/image" Target="../media/image37.png"/><Relationship Id="rId11" Type="http://schemas.openxmlformats.org/officeDocument/2006/relationships/image" Target="../media/image32.png"/><Relationship Id="rId5" Type="http://schemas.openxmlformats.org/officeDocument/2006/relationships/image" Target="../media/image36.png"/><Relationship Id="rId10" Type="http://schemas.openxmlformats.org/officeDocument/2006/relationships/image" Target="../media/image41.png"/><Relationship Id="rId4" Type="http://schemas.openxmlformats.org/officeDocument/2006/relationships/image" Target="../media/image35.png"/><Relationship Id="rId9" Type="http://schemas.openxmlformats.org/officeDocument/2006/relationships/image" Target="../media/image40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7" Type="http://schemas.openxmlformats.org/officeDocument/2006/relationships/image" Target="../media/image4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6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49.png"/><Relationship Id="rId7" Type="http://schemas.openxmlformats.org/officeDocument/2006/relationships/image" Target="../media/image5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52.png"/><Relationship Id="rId11" Type="http://schemas.openxmlformats.org/officeDocument/2006/relationships/image" Target="../media/image57.png"/><Relationship Id="rId5" Type="http://schemas.openxmlformats.org/officeDocument/2006/relationships/image" Target="../media/image51.png"/><Relationship Id="rId10" Type="http://schemas.openxmlformats.org/officeDocument/2006/relationships/image" Target="../media/image56.png"/><Relationship Id="rId4" Type="http://schemas.openxmlformats.org/officeDocument/2006/relationships/image" Target="../media/image50.png"/><Relationship Id="rId9" Type="http://schemas.openxmlformats.org/officeDocument/2006/relationships/image" Target="../media/image5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kr.se/kraftsamling" TargetMode="Externa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6.xml"/><Relationship Id="rId4" Type="http://schemas.openxmlformats.org/officeDocument/2006/relationships/hyperlink" Target="mailto:kraftsamlingpsykiskhalsa@skr.se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4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5.xml"/><Relationship Id="rId2" Type="http://schemas.openxmlformats.org/officeDocument/2006/relationships/tags" Target="../tags/tag3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6.bin"/><Relationship Id="rId4" Type="http://schemas.openxmlformats.org/officeDocument/2006/relationships/image" Target="../media/image14.jp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5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B7E1CE0D-1BB1-47FC-A45E-C23385E1FF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7940" y="3336585"/>
            <a:ext cx="9608400" cy="1966912"/>
          </a:xfrm>
        </p:spPr>
        <p:txBody>
          <a:bodyPr/>
          <a:lstStyle/>
          <a:p>
            <a:r>
              <a:rPr lang="sv-SE" sz="3600" b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Informationsmaterial</a:t>
            </a:r>
            <a:br>
              <a:rPr lang="sv-SE" b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</a:br>
            <a:endParaRPr lang="sv-SE" dirty="0"/>
          </a:p>
        </p:txBody>
      </p:sp>
      <p:pic>
        <p:nvPicPr>
          <p:cNvPr id="3" name="Picture 1" descr="Logotyp Kraftsamling för psykisk hälsa">
            <a:extLst>
              <a:ext uri="{FF2B5EF4-FFF2-40B4-BE49-F238E27FC236}">
                <a16:creationId xmlns:a16="http://schemas.microsoft.com/office/drawing/2014/main" id="{83C78F7B-41BB-47EC-85E6-0CCE235AAE8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7940" y="535577"/>
            <a:ext cx="7620016" cy="2234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82940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7F8B776-3A3D-4934-B3D9-CFFB8CF0B9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0293" y="305048"/>
            <a:ext cx="11065769" cy="714501"/>
          </a:xfrm>
        </p:spPr>
        <p:txBody>
          <a:bodyPr/>
          <a:lstStyle/>
          <a:p>
            <a:r>
              <a:rPr lang="sv-SE" sz="2800" dirty="0"/>
              <a:t>Delarenaformatets idé och utgångspunkter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0A577B4-0611-4B80-A92E-00119FFE4AA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93381" y="1260007"/>
            <a:ext cx="3314007" cy="714501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dén om delarenaformatet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sz="1600" b="1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8" name="Rectangle 54" descr="Boxen är den första utgångspunkten som UPH har haft vid skapandet av konceptet med delarenorna.">
            <a:extLst>
              <a:ext uri="{FF2B5EF4-FFF2-40B4-BE49-F238E27FC236}">
                <a16:creationId xmlns:a16="http://schemas.microsoft.com/office/drawing/2014/main" id="{F24BDCC0-E4E8-463B-A6A7-79027E23D545}"/>
              </a:ext>
            </a:extLst>
          </p:cNvPr>
          <p:cNvSpPr/>
          <p:nvPr/>
        </p:nvSpPr>
        <p:spPr>
          <a:xfrm>
            <a:off x="693381" y="1720517"/>
            <a:ext cx="3597442" cy="122622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dirty="0">
                <a:solidFill>
                  <a:schemeClr val="tx1"/>
                </a:solidFill>
              </a:rPr>
              <a:t>Psykisk hälsa är en fråga för hela samhället, inte bara hälso- och sjukvård/socialtjänst </a:t>
            </a:r>
          </a:p>
        </p:txBody>
      </p:sp>
      <p:sp>
        <p:nvSpPr>
          <p:cNvPr id="19" name="Rectangle 30" descr="Boxen är den andra utgångspunktenr som UPH har haft vid skapandet av konceptet med delarenorna.">
            <a:extLst>
              <a:ext uri="{FF2B5EF4-FFF2-40B4-BE49-F238E27FC236}">
                <a16:creationId xmlns:a16="http://schemas.microsoft.com/office/drawing/2014/main" id="{7F3774FF-DFE4-40B7-B78D-B4DD7F6DAAC1}"/>
              </a:ext>
            </a:extLst>
          </p:cNvPr>
          <p:cNvSpPr/>
          <p:nvPr/>
        </p:nvSpPr>
        <p:spPr>
          <a:xfrm>
            <a:off x="693381" y="3050005"/>
            <a:ext cx="3597442" cy="122622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dirty="0">
                <a:solidFill>
                  <a:schemeClr val="tx1"/>
                </a:solidFill>
              </a:rPr>
              <a:t>Kunskap, idéer och metoder finns till stor del redan, men sprids inte i tillräckligt hög grad</a:t>
            </a:r>
          </a:p>
        </p:txBody>
      </p:sp>
      <p:sp>
        <p:nvSpPr>
          <p:cNvPr id="17" name="Rectangle 45" descr="Boxen är den tredje utgångspunkter som UPH har haft vid skapandet av konceptet med delarenorna.">
            <a:extLst>
              <a:ext uri="{FF2B5EF4-FFF2-40B4-BE49-F238E27FC236}">
                <a16:creationId xmlns:a16="http://schemas.microsoft.com/office/drawing/2014/main" id="{6F0058B6-191A-4537-A023-FB873FA2E8F0}"/>
              </a:ext>
            </a:extLst>
          </p:cNvPr>
          <p:cNvSpPr/>
          <p:nvPr/>
        </p:nvSpPr>
        <p:spPr>
          <a:xfrm>
            <a:off x="693381" y="4379492"/>
            <a:ext cx="3597442" cy="122622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dirty="0">
                <a:solidFill>
                  <a:schemeClr val="tx1"/>
                </a:solidFill>
              </a:rPr>
              <a:t>Arbetet inom området har inte varit tillräckligt brett, samordnat och långsiktigt</a:t>
            </a: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B79B923D-6B82-4591-8682-13357E0EBD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164286" y="1774947"/>
            <a:ext cx="3510356" cy="3877477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3"/>
            </a:solidFill>
            <a:prstDash val="sysDot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sv-SE" dirty="0">
              <a:ln>
                <a:solidFill>
                  <a:schemeClr val="accent3"/>
                </a:solidFill>
                <a:prstDash val="sysDash"/>
              </a:ln>
              <a:solidFill>
                <a:schemeClr val="accent3"/>
              </a:solidFill>
            </a:endParaRPr>
          </a:p>
        </p:txBody>
      </p:sp>
      <p:sp>
        <p:nvSpPr>
          <p:cNvPr id="7" name="Platshållare för innehåll 6">
            <a:extLst>
              <a:ext uri="{FF2B5EF4-FFF2-40B4-BE49-F238E27FC236}">
                <a16:creationId xmlns:a16="http://schemas.microsoft.com/office/drawing/2014/main" id="{109D7866-E1E0-4F25-8F2D-C553BA3591F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207828" y="1260006"/>
            <a:ext cx="3597442" cy="4238845"/>
          </a:xfrm>
        </p:spPr>
        <p:txBody>
          <a:bodyPr/>
          <a:lstStyle/>
          <a:p>
            <a:pPr marL="30163" indent="0">
              <a:buNone/>
            </a:pPr>
            <a:r>
              <a:rPr kumimoji="0" lang="sv-S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raftsamlingens delarenor</a:t>
            </a:r>
          </a:p>
          <a:p>
            <a:pPr marL="30163" indent="0">
              <a:buNone/>
            </a:pPr>
            <a:endParaRPr lang="sv-SE" sz="1600" b="1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sv-SE" dirty="0">
                <a:solidFill>
                  <a:schemeClr val="tx1"/>
                </a:solidFill>
              </a:rPr>
              <a:t>Arbetsgrupper som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tx1"/>
                </a:solidFill>
              </a:rPr>
              <a:t>sammanför aktörer från </a:t>
            </a:r>
            <a:r>
              <a:rPr lang="sv-SE" b="1" dirty="0">
                <a:solidFill>
                  <a:schemeClr val="tx1"/>
                </a:solidFill>
              </a:rPr>
              <a:t>hela samhället </a:t>
            </a:r>
            <a:r>
              <a:rPr lang="sv-SE" dirty="0">
                <a:solidFill>
                  <a:schemeClr val="tx1"/>
                </a:solidFill>
              </a:rPr>
              <a:t>för </a:t>
            </a:r>
            <a:r>
              <a:rPr lang="sv-SE" b="1" dirty="0">
                <a:solidFill>
                  <a:schemeClr val="tx1"/>
                </a:solidFill>
              </a:rPr>
              <a:t>långsiktigt arbete</a:t>
            </a:r>
            <a:r>
              <a:rPr lang="sv-SE" dirty="0">
                <a:solidFill>
                  <a:schemeClr val="tx1"/>
                </a:solidFill>
              </a:rPr>
              <a:t>,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tx1"/>
                </a:solidFill>
              </a:rPr>
              <a:t>i första hand genom att </a:t>
            </a:r>
            <a:r>
              <a:rPr lang="sv-SE" b="1" dirty="0">
                <a:solidFill>
                  <a:schemeClr val="tx1"/>
                </a:solidFill>
              </a:rPr>
              <a:t>tillvarata befintlig kunskap och erfarenheter </a:t>
            </a:r>
            <a:r>
              <a:rPr lang="sv-SE" dirty="0">
                <a:solidFill>
                  <a:schemeClr val="tx1"/>
                </a:solidFill>
              </a:rPr>
              <a:t>hos deltagarna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i="1" dirty="0">
                <a:solidFill>
                  <a:schemeClr val="tx1"/>
                </a:solidFill>
              </a:rPr>
              <a:t>men</a:t>
            </a: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b="1" dirty="0">
                <a:solidFill>
                  <a:schemeClr val="tx1"/>
                </a:solidFill>
              </a:rPr>
              <a:t>samlar, paketerar och sprider dessa med samlad kraft i nya konstellationer</a:t>
            </a:r>
            <a:r>
              <a:rPr lang="sv-SE" dirty="0">
                <a:solidFill>
                  <a:schemeClr val="tx1"/>
                </a:solidFill>
              </a:rPr>
              <a:t>!</a:t>
            </a:r>
          </a:p>
          <a:p>
            <a:pPr marL="30163" indent="0">
              <a:buNone/>
            </a:pPr>
            <a:endParaRPr lang="sv-SE" sz="1600" dirty="0"/>
          </a:p>
        </p:txBody>
      </p:sp>
      <p:grpSp>
        <p:nvGrpSpPr>
          <p:cNvPr id="26" name="Grupp 25">
            <a:extLst>
              <a:ext uri="{FF2B5EF4-FFF2-40B4-BE49-F238E27FC236}">
                <a16:creationId xmlns:a16="http://schemas.microsoft.com/office/drawing/2014/main" id="{0B90D35D-5B90-4DF9-83F7-CE505EB150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7999641" y="2976682"/>
            <a:ext cx="295272" cy="1303599"/>
            <a:chOff x="7999641" y="2976682"/>
            <a:chExt cx="295272" cy="1303599"/>
          </a:xfrm>
        </p:grpSpPr>
        <p:sp>
          <p:nvSpPr>
            <p:cNvPr id="25" name="Rektangel 24">
              <a:extLst>
                <a:ext uri="{FF2B5EF4-FFF2-40B4-BE49-F238E27FC236}">
                  <a16:creationId xmlns:a16="http://schemas.microsoft.com/office/drawing/2014/main" id="{1DDB27D0-7C22-48B9-8BA5-0E566CDDAD3E}"/>
                </a:ext>
              </a:extLst>
            </p:cNvPr>
            <p:cNvSpPr/>
            <p:nvPr/>
          </p:nvSpPr>
          <p:spPr>
            <a:xfrm>
              <a:off x="7999641" y="2976682"/>
              <a:ext cx="295272" cy="129955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>
                <a:solidFill>
                  <a:schemeClr val="bg1"/>
                </a:solidFill>
              </a:endParaRPr>
            </a:p>
          </p:txBody>
        </p:sp>
        <p:cxnSp>
          <p:nvCxnSpPr>
            <p:cNvPr id="24" name="Straight Arrow Connector 29">
              <a:extLst>
                <a:ext uri="{FF2B5EF4-FFF2-40B4-BE49-F238E27FC236}">
                  <a16:creationId xmlns:a16="http://schemas.microsoft.com/office/drawing/2014/main" id="{DCC61384-C00E-4181-BAE6-9BC81EB727C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8164286" y="3050005"/>
              <a:ext cx="0" cy="1230276"/>
            </a:xfrm>
            <a:prstGeom prst="straightConnector1">
              <a:avLst/>
            </a:prstGeom>
            <a:ln w="50800">
              <a:solidFill>
                <a:srgbClr val="0070C0"/>
              </a:solidFill>
              <a:prstDash val="sysDot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upp 3" descr="Leder till">
            <a:extLst>
              <a:ext uri="{FF2B5EF4-FFF2-40B4-BE49-F238E27FC236}">
                <a16:creationId xmlns:a16="http://schemas.microsoft.com/office/drawing/2014/main" id="{2B22B4E1-C76B-4D96-8DF2-6FD414D6DEC4}"/>
              </a:ext>
            </a:extLst>
          </p:cNvPr>
          <p:cNvGrpSpPr/>
          <p:nvPr/>
        </p:nvGrpSpPr>
        <p:grpSpPr>
          <a:xfrm>
            <a:off x="4336705" y="2040903"/>
            <a:ext cx="1656793" cy="3176337"/>
            <a:chOff x="4336705" y="2040903"/>
            <a:chExt cx="1656793" cy="3176337"/>
          </a:xfrm>
        </p:grpSpPr>
        <p:cxnSp>
          <p:nvCxnSpPr>
            <p:cNvPr id="28" name="Connector: Elbow 6">
              <a:extLst>
                <a:ext uri="{FF2B5EF4-FFF2-40B4-BE49-F238E27FC236}">
                  <a16:creationId xmlns:a16="http://schemas.microsoft.com/office/drawing/2014/main" id="{18E8F811-4B5B-4464-B156-9BE326BB4CF6}"/>
                </a:ext>
              </a:extLst>
            </p:cNvPr>
            <p:cNvCxnSpPr>
              <a:cxnSpLocks/>
            </p:cNvCxnSpPr>
            <p:nvPr/>
          </p:nvCxnSpPr>
          <p:spPr>
            <a:xfrm>
              <a:off x="4336705" y="2040903"/>
              <a:ext cx="1424181" cy="1420218"/>
            </a:xfrm>
            <a:prstGeom prst="bentConnector3">
              <a:avLst>
                <a:gd name="adj1" fmla="val 50000"/>
              </a:avLst>
            </a:prstGeom>
            <a:ln w="50800">
              <a:solidFill>
                <a:srgbClr val="0070C0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Connector: Elbow 19">
              <a:extLst>
                <a:ext uri="{FF2B5EF4-FFF2-40B4-BE49-F238E27FC236}">
                  <a16:creationId xmlns:a16="http://schemas.microsoft.com/office/drawing/2014/main" id="{A8C22E55-F859-44DA-B88F-63C2B87B36A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336705" y="3822068"/>
              <a:ext cx="1424181" cy="1395172"/>
            </a:xfrm>
            <a:prstGeom prst="bentConnector3">
              <a:avLst/>
            </a:prstGeom>
            <a:ln w="50800">
              <a:solidFill>
                <a:srgbClr val="0070C0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Arrow Connector 38">
              <a:extLst>
                <a:ext uri="{FF2B5EF4-FFF2-40B4-BE49-F238E27FC236}">
                  <a16:creationId xmlns:a16="http://schemas.microsoft.com/office/drawing/2014/main" id="{1A5DF759-44F7-403B-9139-13EBA38B43A7}"/>
                </a:ext>
              </a:extLst>
            </p:cNvPr>
            <p:cNvCxnSpPr>
              <a:cxnSpLocks/>
            </p:cNvCxnSpPr>
            <p:nvPr/>
          </p:nvCxnSpPr>
          <p:spPr>
            <a:xfrm>
              <a:off x="4336705" y="3629071"/>
              <a:ext cx="1656793" cy="12528"/>
            </a:xfrm>
            <a:prstGeom prst="straightConnector1">
              <a:avLst/>
            </a:prstGeom>
            <a:ln w="50800">
              <a:solidFill>
                <a:srgbClr val="0070C0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5" name="Graphic 2" descr="Brainstormingsprocess">
            <a:extLst>
              <a:ext uri="{FF2B5EF4-FFF2-40B4-BE49-F238E27FC236}">
                <a16:creationId xmlns:a16="http://schemas.microsoft.com/office/drawing/2014/main" id="{B36C5BA2-A2BB-4EDA-92C2-5F53B9BE4A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46002" y="3157920"/>
            <a:ext cx="1111530" cy="1111530"/>
          </a:xfrm>
          <a:prstGeom prst="rect">
            <a:avLst/>
          </a:prstGeom>
        </p:spPr>
      </p:pic>
      <p:sp>
        <p:nvSpPr>
          <p:cNvPr id="32" name="Oval 36">
            <a:extLst>
              <a:ext uri="{FF2B5EF4-FFF2-40B4-BE49-F238E27FC236}">
                <a16:creationId xmlns:a16="http://schemas.microsoft.com/office/drawing/2014/main" id="{47486E09-F17D-4A57-BCC7-77A46E589B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087373" y="3106835"/>
            <a:ext cx="1213700" cy="1213700"/>
          </a:xfrm>
          <a:prstGeom prst="ellipse">
            <a:avLst/>
          </a:prstGeom>
          <a:noFill/>
          <a:ln w="508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pSp>
        <p:nvGrpSpPr>
          <p:cNvPr id="5" name="Grupp 4" descr="Som i sin tur leder till">
            <a:extLst>
              <a:ext uri="{FF2B5EF4-FFF2-40B4-BE49-F238E27FC236}">
                <a16:creationId xmlns:a16="http://schemas.microsoft.com/office/drawing/2014/main" id="{24F000D7-1E57-4C92-981B-C7EF779FEFB0}"/>
              </a:ext>
            </a:extLst>
          </p:cNvPr>
          <p:cNvGrpSpPr/>
          <p:nvPr/>
        </p:nvGrpSpPr>
        <p:grpSpPr>
          <a:xfrm>
            <a:off x="7301073" y="3537319"/>
            <a:ext cx="764215" cy="360466"/>
            <a:chOff x="7301073" y="3537319"/>
            <a:chExt cx="764215" cy="360466"/>
          </a:xfrm>
        </p:grpSpPr>
        <p:cxnSp>
          <p:nvCxnSpPr>
            <p:cNvPr id="31" name="Connector: Elbow 28">
              <a:extLst>
                <a:ext uri="{FF2B5EF4-FFF2-40B4-BE49-F238E27FC236}">
                  <a16:creationId xmlns:a16="http://schemas.microsoft.com/office/drawing/2014/main" id="{FCACE533-569E-4680-BBEE-7E3A1842D11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301073" y="3717305"/>
              <a:ext cx="764215" cy="494"/>
            </a:xfrm>
            <a:prstGeom prst="bentConnector3">
              <a:avLst/>
            </a:prstGeom>
            <a:ln w="50800"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Connector: Elbow 39">
              <a:extLst>
                <a:ext uri="{FF2B5EF4-FFF2-40B4-BE49-F238E27FC236}">
                  <a16:creationId xmlns:a16="http://schemas.microsoft.com/office/drawing/2014/main" id="{571C1BA6-690B-460B-81A2-F8F33C7DA89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301073" y="3537319"/>
              <a:ext cx="423318" cy="2"/>
            </a:xfrm>
            <a:prstGeom prst="bentConnector3">
              <a:avLst/>
            </a:prstGeom>
            <a:ln w="50800"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Connector: Elbow 41">
              <a:extLst>
                <a:ext uri="{FF2B5EF4-FFF2-40B4-BE49-F238E27FC236}">
                  <a16:creationId xmlns:a16="http://schemas.microsoft.com/office/drawing/2014/main" id="{58C91E90-7C71-4254-AFD4-5E8EA08823C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301073" y="3897783"/>
              <a:ext cx="423318" cy="2"/>
            </a:xfrm>
            <a:prstGeom prst="bentConnector3">
              <a:avLst/>
            </a:prstGeom>
            <a:ln w="50800"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987501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A3D7331-050F-4BE9-9D0A-8C38C1A427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3028" y="896983"/>
            <a:ext cx="4163221" cy="714501"/>
          </a:xfrm>
        </p:spPr>
        <p:txBody>
          <a:bodyPr/>
          <a:lstStyle/>
          <a:p>
            <a:pPr lvl="0">
              <a:lnSpc>
                <a:spcPct val="107000"/>
              </a:lnSpc>
              <a:defRPr/>
            </a:pPr>
            <a:r>
              <a:rPr lang="sv-SE" sz="18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. Ett mer hälsofrämjande samhälle och levnadssätt </a:t>
            </a:r>
            <a:endParaRPr lang="sv-SE" sz="1800" i="1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1A9F0C29-82C5-48E9-BFC7-A32BC9759F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028" y="1786023"/>
            <a:ext cx="3974644" cy="3219040"/>
          </a:xfrm>
          <a:prstGeom prst="rect">
            <a:avLst/>
          </a:prstGeom>
          <a:solidFill>
            <a:schemeClr val="bg1"/>
          </a:solidFill>
          <a:ln w="38100" cmpd="sng">
            <a:solidFill>
              <a:srgbClr val="B5E4FB"/>
            </a:solidFill>
          </a:ln>
        </p:spPr>
      </p:pic>
      <p:sp>
        <p:nvSpPr>
          <p:cNvPr id="38" name="Trapezoid 37">
            <a:extLst>
              <a:ext uri="{FF2B5EF4-FFF2-40B4-BE49-F238E27FC236}">
                <a16:creationId xmlns:a16="http://schemas.microsoft.com/office/drawing/2014/main" id="{FDE29319-4E6E-477B-A6ED-5744D1B619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>
            <a:off x="2040803" y="3169313"/>
            <a:ext cx="5346198" cy="452461"/>
          </a:xfrm>
          <a:prstGeom prst="trapezoid">
            <a:avLst>
              <a:gd name="adj" fmla="val 234065"/>
            </a:avLst>
          </a:prstGeom>
          <a:solidFill>
            <a:srgbClr val="B5E4FB"/>
          </a:solidFill>
          <a:ln>
            <a:solidFill>
              <a:srgbClr val="B5E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40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D5EA518-4D91-4A1B-B5F3-58EB7C4EE14C}"/>
              </a:ext>
            </a:extLst>
          </p:cNvPr>
          <p:cNvSpPr/>
          <p:nvPr/>
        </p:nvSpPr>
        <p:spPr>
          <a:xfrm>
            <a:off x="4940133" y="196288"/>
            <a:ext cx="5867567" cy="3366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6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örslag nationella </a:t>
            </a:r>
            <a:r>
              <a:rPr kumimoji="0" lang="sv-SE" sz="16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larenor: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2FE15D42-686D-4E21-8E4B-489AD27ABC82}"/>
              </a:ext>
            </a:extLst>
          </p:cNvPr>
          <p:cNvSpPr/>
          <p:nvPr/>
        </p:nvSpPr>
        <p:spPr>
          <a:xfrm>
            <a:off x="4927433" y="656731"/>
            <a:ext cx="6807373" cy="699326"/>
          </a:xfrm>
          <a:prstGeom prst="roundRect">
            <a:avLst>
              <a:gd name="adj" fmla="val 27560"/>
            </a:avLst>
          </a:prstGeom>
          <a:solidFill>
            <a:schemeClr val="bg1"/>
          </a:solidFill>
          <a:ln w="38100" cmpd="sng">
            <a:solidFill>
              <a:srgbClr val="B5E4FB"/>
            </a:solidFill>
          </a:ln>
        </p:spPr>
        <p:txBody>
          <a:bodyPr wrap="square" lIns="144000" tIns="0" rIns="72000" bIns="0" rtlCol="0" anchor="ctr">
            <a:noAutofit/>
          </a:bodyPr>
          <a:lstStyle/>
          <a:p>
            <a:r>
              <a:rPr lang="sv-SE" sz="1400" b="1" dirty="0"/>
              <a:t>1.1 Mediabild för psykisk hälsa</a:t>
            </a:r>
          </a:p>
          <a:p>
            <a:r>
              <a:rPr lang="sv-SE" sz="1400" dirty="0">
                <a:solidFill>
                  <a:schemeClr val="dk1"/>
                </a:solidFill>
              </a:rPr>
              <a:t>Hur får vi en saklig och rättvisande bild av psykisk hälsa/ohälsa i media?</a:t>
            </a:r>
            <a:br>
              <a:rPr lang="sv-SE" sz="1400" dirty="0">
                <a:solidFill>
                  <a:schemeClr val="dk1"/>
                </a:solidFill>
              </a:rPr>
            </a:br>
            <a:r>
              <a:rPr lang="sv-SE" sz="1400" dirty="0">
                <a:solidFill>
                  <a:schemeClr val="dk1"/>
                </a:solidFill>
              </a:rPr>
              <a:t>Hur hanterar vi den ”alarmistiska” mediabilden av vårt samhälle?</a:t>
            </a:r>
            <a:endParaRPr lang="sv-SE" sz="1400" dirty="0">
              <a:solidFill>
                <a:prstClr val="black"/>
              </a:solidFill>
            </a:endParaRP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E7C37C65-9923-4EF0-BA2D-E02420842D8F}"/>
              </a:ext>
            </a:extLst>
          </p:cNvPr>
          <p:cNvSpPr/>
          <p:nvPr/>
        </p:nvSpPr>
        <p:spPr>
          <a:xfrm>
            <a:off x="4927433" y="1466394"/>
            <a:ext cx="6807373" cy="673734"/>
          </a:xfrm>
          <a:prstGeom prst="roundRect">
            <a:avLst>
              <a:gd name="adj" fmla="val 27560"/>
            </a:avLst>
          </a:prstGeom>
          <a:solidFill>
            <a:schemeClr val="bg1"/>
          </a:solidFill>
          <a:ln w="38100" cmpd="sng">
            <a:solidFill>
              <a:srgbClr val="B5E4FB"/>
            </a:solidFill>
          </a:ln>
        </p:spPr>
        <p:txBody>
          <a:bodyPr wrap="square" lIns="144000" tIns="0" rIns="72000" bIns="0" rtlCol="0" anchor="ctr">
            <a:noAutofit/>
          </a:bodyPr>
          <a:lstStyle/>
          <a:p>
            <a:r>
              <a:rPr lang="sv-SE" sz="1400" b="1"/>
              <a:t>1.2 Urbaniseringskonsekvenser i stad och land </a:t>
            </a:r>
          </a:p>
          <a:p>
            <a:r>
              <a:rPr lang="sv-SE" sz="1400"/>
              <a:t>Hur kan vårt samhälle i högre grad utformas för att främja psykisk hälsa utifrån våra boende- och levnadsmönster?</a:t>
            </a: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D9D24327-5579-4FA8-BBFB-BD6ACA38C615}"/>
              </a:ext>
            </a:extLst>
          </p:cNvPr>
          <p:cNvSpPr/>
          <p:nvPr/>
        </p:nvSpPr>
        <p:spPr>
          <a:xfrm>
            <a:off x="4927433" y="2250466"/>
            <a:ext cx="6807373" cy="956683"/>
          </a:xfrm>
          <a:prstGeom prst="roundRect">
            <a:avLst>
              <a:gd name="adj" fmla="val 27560"/>
            </a:avLst>
          </a:prstGeom>
          <a:solidFill>
            <a:schemeClr val="bg1"/>
          </a:solidFill>
          <a:ln w="38100" cmpd="sng">
            <a:solidFill>
              <a:srgbClr val="B5E4FB"/>
            </a:solidFill>
          </a:ln>
        </p:spPr>
        <p:txBody>
          <a:bodyPr wrap="square" lIns="144000" tIns="0" rIns="72000" bIns="0" rtlCol="0" anchor="ctr">
            <a:noAutofit/>
          </a:bodyPr>
          <a:lstStyle/>
          <a:p>
            <a:r>
              <a:rPr lang="sv-SE" sz="1400" b="1"/>
              <a:t>1.3 Samhällsdiskussion om sociala medier</a:t>
            </a:r>
          </a:p>
          <a:p>
            <a:r>
              <a:rPr lang="sv-SE" sz="1400"/>
              <a:t>Hur motverkar vi negativa aspekter av sociala-</a:t>
            </a:r>
            <a:r>
              <a:rPr lang="sv-SE" sz="1400" err="1"/>
              <a:t>medieranvändning</a:t>
            </a:r>
            <a:r>
              <a:rPr lang="sv-SE" sz="1400"/>
              <a:t>? </a:t>
            </a:r>
            <a:br>
              <a:rPr lang="sv-SE" sz="1400"/>
            </a:br>
            <a:r>
              <a:rPr lang="sv-SE" sz="1400"/>
              <a:t>Hur främjar vi ett hälsosamt nyttjande av de sociala möjligheter som digitaliseringen ger?</a:t>
            </a: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0E8645CD-A617-4266-A511-5C3A4EF66D7C}"/>
              </a:ext>
            </a:extLst>
          </p:cNvPr>
          <p:cNvSpPr/>
          <p:nvPr/>
        </p:nvSpPr>
        <p:spPr>
          <a:xfrm>
            <a:off x="4927433" y="3317487"/>
            <a:ext cx="6807373" cy="810308"/>
          </a:xfrm>
          <a:prstGeom prst="roundRect">
            <a:avLst>
              <a:gd name="adj" fmla="val 27560"/>
            </a:avLst>
          </a:prstGeom>
          <a:solidFill>
            <a:schemeClr val="bg1"/>
          </a:solidFill>
          <a:ln w="38100" cmpd="sng">
            <a:solidFill>
              <a:srgbClr val="B5E4FB"/>
            </a:solidFill>
          </a:ln>
        </p:spPr>
        <p:txBody>
          <a:bodyPr wrap="square" lIns="144000" tIns="0" rIns="72000" bIns="0" rtlCol="0" anchor="ctr">
            <a:noAutofit/>
          </a:bodyPr>
          <a:lstStyle/>
          <a:p>
            <a:r>
              <a:rPr lang="sv-SE" sz="1400" b="1"/>
              <a:t>1.4 Meningsskapande i en sekulär tid</a:t>
            </a:r>
          </a:p>
          <a:p>
            <a:r>
              <a:rPr lang="sv-SE" sz="1400"/>
              <a:t>Hur kan vi skapa nya utgångspunkter för meningsskapande och sammanhang i livet, som passar vår tid? Genom att lära över generationsgränser? Genom kultur?</a:t>
            </a: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E8E8E0F9-6E76-4635-AF13-A6F278F1E607}"/>
              </a:ext>
            </a:extLst>
          </p:cNvPr>
          <p:cNvSpPr/>
          <p:nvPr/>
        </p:nvSpPr>
        <p:spPr>
          <a:xfrm>
            <a:off x="4927432" y="4238133"/>
            <a:ext cx="6807373" cy="656011"/>
          </a:xfrm>
          <a:prstGeom prst="roundRect">
            <a:avLst>
              <a:gd name="adj" fmla="val 27560"/>
            </a:avLst>
          </a:prstGeom>
          <a:solidFill>
            <a:schemeClr val="bg1"/>
          </a:solidFill>
          <a:ln w="38100" cmpd="sng">
            <a:solidFill>
              <a:srgbClr val="B5E4FB"/>
            </a:solidFill>
          </a:ln>
        </p:spPr>
        <p:txBody>
          <a:bodyPr wrap="square" lIns="144000" tIns="0" rIns="72000" bIns="0" rtlCol="0" anchor="ctr">
            <a:noAutofit/>
          </a:bodyPr>
          <a:lstStyle/>
          <a:p>
            <a:r>
              <a:rPr lang="sv-SE" sz="1400" b="1"/>
              <a:t>1.5 Arbetsliv för personer med psykiatriska tillstånd </a:t>
            </a:r>
          </a:p>
          <a:p>
            <a:r>
              <a:rPr lang="sv-SE" sz="1400"/>
              <a:t>Hur ger vi personer med psykiatriska tillstånd bättre förutsättningar att delta i arbetslivet?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BD88F328-DD9D-4A88-82FA-CDD2CD4B6135}"/>
              </a:ext>
            </a:extLst>
          </p:cNvPr>
          <p:cNvSpPr/>
          <p:nvPr/>
        </p:nvSpPr>
        <p:spPr>
          <a:xfrm>
            <a:off x="4927432" y="5004482"/>
            <a:ext cx="6807373" cy="500725"/>
          </a:xfrm>
          <a:prstGeom prst="roundRect">
            <a:avLst>
              <a:gd name="adj" fmla="val 27560"/>
            </a:avLst>
          </a:prstGeom>
          <a:solidFill>
            <a:schemeClr val="bg1"/>
          </a:solidFill>
          <a:ln w="38100" cmpd="sng">
            <a:solidFill>
              <a:srgbClr val="B5E4FB"/>
            </a:solidFill>
          </a:ln>
        </p:spPr>
        <p:txBody>
          <a:bodyPr wrap="square" lIns="144000" tIns="0" rIns="72000" bIns="0" rtlCol="0" anchor="ctr">
            <a:noAutofit/>
          </a:bodyPr>
          <a:lstStyle/>
          <a:p>
            <a:r>
              <a:rPr lang="sv-SE" sz="1400" b="1"/>
              <a:t>1.6 Framtidstro i samhällsdiskussionen </a:t>
            </a:r>
          </a:p>
          <a:p>
            <a:r>
              <a:rPr lang="sv-SE" sz="1400"/>
              <a:t>Hur skapar vi framtidstro i samhällsdiskussionen?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6F41597F-A058-4192-A565-8FD24B9FC6E3}"/>
              </a:ext>
            </a:extLst>
          </p:cNvPr>
          <p:cNvSpPr/>
          <p:nvPr/>
        </p:nvSpPr>
        <p:spPr>
          <a:xfrm>
            <a:off x="4927432" y="5615543"/>
            <a:ext cx="6807373" cy="500725"/>
          </a:xfrm>
          <a:prstGeom prst="roundRect">
            <a:avLst>
              <a:gd name="adj" fmla="val 27560"/>
            </a:avLst>
          </a:prstGeom>
          <a:solidFill>
            <a:schemeClr val="bg1"/>
          </a:solidFill>
          <a:ln w="38100" cmpd="sng">
            <a:solidFill>
              <a:srgbClr val="B5E4FB"/>
            </a:solidFill>
          </a:ln>
        </p:spPr>
        <p:txBody>
          <a:bodyPr wrap="square" lIns="144000" tIns="0" rIns="72000" bIns="0" rtlCol="0" anchor="ctr">
            <a:noAutofit/>
          </a:bodyPr>
          <a:lstStyle/>
          <a:p>
            <a:r>
              <a:rPr lang="sv-SE" sz="1400" b="1" dirty="0"/>
              <a:t>1.7 Samhällsmobilisering för narkotikaprevention</a:t>
            </a:r>
            <a:endParaRPr lang="sv-SE" sz="1400" dirty="0"/>
          </a:p>
          <a:p>
            <a:r>
              <a:rPr lang="sv-SE" sz="1400" dirty="0"/>
              <a:t>Hur kan vi ta ett gemensamt ansvar för att minska narkotikakonsumtionen?</a:t>
            </a:r>
          </a:p>
        </p:txBody>
      </p:sp>
    </p:spTree>
    <p:extLst>
      <p:ext uri="{BB962C8B-B14F-4D97-AF65-F5344CB8AC3E}">
        <p14:creationId xmlns:p14="http://schemas.microsoft.com/office/powerpoint/2010/main" val="355206883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0E2A7F9-43AF-4D75-AA3E-103D80B4B6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444" y="915728"/>
            <a:ext cx="4300103" cy="714501"/>
          </a:xfrm>
        </p:spPr>
        <p:txBody>
          <a:bodyPr/>
          <a:lstStyle/>
          <a:p>
            <a:pPr rtl="0" eaLnBrk="1" latinLnBrk="0" hangingPunct="1"/>
            <a:r>
              <a:rPr lang="sv-SE" sz="1800" b="1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. Individer som är rustade för att nå sin fulla potential och välmående</a:t>
            </a:r>
            <a:endParaRPr lang="sv-SE" sz="2000" dirty="0">
              <a:effectLst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E67F09A-BB6D-4E42-9BFE-4B04618D4B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4444" y="1775888"/>
            <a:ext cx="3983228" cy="3219040"/>
          </a:xfrm>
          <a:prstGeom prst="rect">
            <a:avLst/>
          </a:prstGeom>
          <a:solidFill>
            <a:schemeClr val="bg1"/>
          </a:solidFill>
          <a:ln w="38100" cmpd="sng">
            <a:solidFill>
              <a:srgbClr val="B5E4FB"/>
            </a:solidFill>
          </a:ln>
        </p:spPr>
      </p:pic>
      <p:sp>
        <p:nvSpPr>
          <p:cNvPr id="20" name="Trapezoid 19">
            <a:extLst>
              <a:ext uri="{FF2B5EF4-FFF2-40B4-BE49-F238E27FC236}">
                <a16:creationId xmlns:a16="http://schemas.microsoft.com/office/drawing/2014/main" id="{577ACCDD-67EF-496C-AFA3-FE117E6AB3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>
            <a:off x="2098563" y="3159178"/>
            <a:ext cx="5230679" cy="452461"/>
          </a:xfrm>
          <a:prstGeom prst="trapezoid">
            <a:avLst>
              <a:gd name="adj" fmla="val 213013"/>
            </a:avLst>
          </a:prstGeom>
          <a:solidFill>
            <a:srgbClr val="B5E4FB"/>
          </a:solidFill>
          <a:ln>
            <a:solidFill>
              <a:srgbClr val="B5E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40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6B2D705-E031-422F-BE79-4AB9B7EF54A9}"/>
              </a:ext>
            </a:extLst>
          </p:cNvPr>
          <p:cNvSpPr/>
          <p:nvPr/>
        </p:nvSpPr>
        <p:spPr>
          <a:xfrm>
            <a:off x="4940133" y="196288"/>
            <a:ext cx="5867567" cy="3366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6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örslag nationella </a:t>
            </a:r>
            <a:r>
              <a:rPr kumimoji="0" lang="sv-SE" sz="16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larenor: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B39CB2A5-3EDD-4C3A-AC3A-DA28A784697C}"/>
              </a:ext>
            </a:extLst>
          </p:cNvPr>
          <p:cNvSpPr/>
          <p:nvPr/>
        </p:nvSpPr>
        <p:spPr>
          <a:xfrm>
            <a:off x="4927432" y="656731"/>
            <a:ext cx="6807373" cy="798196"/>
          </a:xfrm>
          <a:prstGeom prst="roundRect">
            <a:avLst>
              <a:gd name="adj" fmla="val 27560"/>
            </a:avLst>
          </a:prstGeom>
          <a:solidFill>
            <a:schemeClr val="bg1"/>
          </a:solidFill>
          <a:ln w="38100" cmpd="sng">
            <a:solidFill>
              <a:srgbClr val="B5E4FB"/>
            </a:solidFill>
          </a:ln>
        </p:spPr>
        <p:txBody>
          <a:bodyPr wrap="square" lIns="144000" tIns="0" rIns="72000" bIns="0" rtlCol="0" anchor="ctr">
            <a:noAutofit/>
          </a:bodyPr>
          <a:lstStyle/>
          <a:p>
            <a:r>
              <a:rPr lang="sv-SE" sz="1600" b="1" dirty="0"/>
              <a:t>2.1 Fungerande skolgång för barn och unga med NPF</a:t>
            </a:r>
          </a:p>
          <a:p>
            <a:r>
              <a:rPr lang="sv-SE" sz="1600" dirty="0"/>
              <a:t>Hur skapar vi förutsättningar för en fungerande skolgång för barn och unga med NPF?</a:t>
            </a: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B62DD4D6-E5FD-40F9-A890-8951066FE9FB}"/>
              </a:ext>
            </a:extLst>
          </p:cNvPr>
          <p:cNvSpPr/>
          <p:nvPr/>
        </p:nvSpPr>
        <p:spPr>
          <a:xfrm>
            <a:off x="4927432" y="1559668"/>
            <a:ext cx="6807373" cy="798196"/>
          </a:xfrm>
          <a:prstGeom prst="roundRect">
            <a:avLst>
              <a:gd name="adj" fmla="val 27560"/>
            </a:avLst>
          </a:prstGeom>
          <a:solidFill>
            <a:schemeClr val="bg1"/>
          </a:solidFill>
          <a:ln w="38100" cmpd="sng">
            <a:solidFill>
              <a:srgbClr val="B5E4FB"/>
            </a:solidFill>
          </a:ln>
        </p:spPr>
        <p:txBody>
          <a:bodyPr wrap="square" lIns="144000" tIns="0" rIns="72000" bIns="0" rtlCol="0" anchor="ctr">
            <a:noAutofit/>
          </a:bodyPr>
          <a:lstStyle/>
          <a:p>
            <a:r>
              <a:rPr lang="sv-SE" sz="1600" b="1"/>
              <a:t>2.2 Etisk stress i arbetslivet</a:t>
            </a:r>
          </a:p>
          <a:p>
            <a:r>
              <a:rPr lang="sv-SE" sz="1600"/>
              <a:t>Vad kan vi göra för att minska den etiska stress som kan uppstå exempelvis inom sjukvården?</a:t>
            </a: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5582A718-94B4-4BD9-91C3-138C6FBA41FF}"/>
              </a:ext>
            </a:extLst>
          </p:cNvPr>
          <p:cNvSpPr/>
          <p:nvPr/>
        </p:nvSpPr>
        <p:spPr>
          <a:xfrm>
            <a:off x="4927432" y="2462605"/>
            <a:ext cx="6807373" cy="554532"/>
          </a:xfrm>
          <a:prstGeom prst="roundRect">
            <a:avLst>
              <a:gd name="adj" fmla="val 27560"/>
            </a:avLst>
          </a:prstGeom>
          <a:solidFill>
            <a:schemeClr val="bg1"/>
          </a:solidFill>
          <a:ln w="38100" cmpd="sng">
            <a:solidFill>
              <a:srgbClr val="B5E4FB"/>
            </a:solidFill>
          </a:ln>
        </p:spPr>
        <p:txBody>
          <a:bodyPr wrap="square" lIns="144000" tIns="0" rIns="72000" bIns="0" rtlCol="0" anchor="ctr">
            <a:noAutofit/>
          </a:bodyPr>
          <a:lstStyle/>
          <a:p>
            <a:pPr marL="0" lvl="1"/>
            <a:r>
              <a:rPr lang="sv-SE" sz="1600" b="1"/>
              <a:t>2.3 Huskurer för psykisk hälsa </a:t>
            </a:r>
          </a:p>
          <a:p>
            <a:pPr lvl="0" defTabSz="1243880">
              <a:defRPr/>
            </a:pPr>
            <a:r>
              <a:rPr lang="sv-SE" sz="1600">
                <a:solidFill>
                  <a:schemeClr val="dk1"/>
                </a:solidFill>
              </a:rPr>
              <a:t>Hur kan vi utveckla och sprida egenvårdsråd för psykisk hälsa? </a:t>
            </a:r>
            <a:endParaRPr lang="sv-SE" sz="1600"/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6F0CD1E8-003C-490B-8DDB-5E2AD8590F33}"/>
              </a:ext>
            </a:extLst>
          </p:cNvPr>
          <p:cNvSpPr/>
          <p:nvPr/>
        </p:nvSpPr>
        <p:spPr>
          <a:xfrm>
            <a:off x="4927432" y="3121878"/>
            <a:ext cx="6807373" cy="529242"/>
          </a:xfrm>
          <a:prstGeom prst="roundRect">
            <a:avLst>
              <a:gd name="adj" fmla="val 27560"/>
            </a:avLst>
          </a:prstGeom>
          <a:solidFill>
            <a:schemeClr val="bg1"/>
          </a:solidFill>
          <a:ln w="38100" cmpd="sng">
            <a:solidFill>
              <a:srgbClr val="B5E4FB"/>
            </a:solidFill>
          </a:ln>
        </p:spPr>
        <p:txBody>
          <a:bodyPr wrap="square" lIns="144000" tIns="0" rIns="72000" bIns="0" rtlCol="0" anchor="ctr">
            <a:noAutofit/>
          </a:bodyPr>
          <a:lstStyle/>
          <a:p>
            <a:pPr marL="0" lvl="1"/>
            <a:r>
              <a:rPr lang="sv-SE" sz="1600" b="1" dirty="0"/>
              <a:t>2.4 Rusta barn och unga </a:t>
            </a:r>
          </a:p>
          <a:p>
            <a:r>
              <a:rPr lang="sv-SE" sz="1600" dirty="0"/>
              <a:t>Hur rustar vi barn och unga att hantera livets krav och påfrestningar?</a:t>
            </a: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7ADB6EA4-3BC3-4A18-8C23-A08A3DA82F8A}"/>
              </a:ext>
            </a:extLst>
          </p:cNvPr>
          <p:cNvSpPr/>
          <p:nvPr/>
        </p:nvSpPr>
        <p:spPr>
          <a:xfrm>
            <a:off x="4927432" y="3755861"/>
            <a:ext cx="6807373" cy="554533"/>
          </a:xfrm>
          <a:prstGeom prst="roundRect">
            <a:avLst>
              <a:gd name="adj" fmla="val 27560"/>
            </a:avLst>
          </a:prstGeom>
          <a:solidFill>
            <a:schemeClr val="bg1"/>
          </a:solidFill>
          <a:ln w="38100" cmpd="sng">
            <a:solidFill>
              <a:srgbClr val="B5E4FB"/>
            </a:solidFill>
          </a:ln>
        </p:spPr>
        <p:txBody>
          <a:bodyPr wrap="square" lIns="144000" tIns="0" rIns="72000" bIns="0" rtlCol="0" anchor="ctr">
            <a:noAutofit/>
          </a:bodyPr>
          <a:lstStyle/>
          <a:p>
            <a:r>
              <a:rPr lang="sv-SE" sz="1600" b="1"/>
              <a:t>2.5 Ofrivillig ensamhet bland äldre</a:t>
            </a:r>
          </a:p>
          <a:p>
            <a:r>
              <a:rPr lang="sv-SE" sz="1600"/>
              <a:t>Hur kan vi minska ofrivillig ensamhet bland äldre?</a:t>
            </a: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E37F9B29-E1B3-4DDE-ACA1-B58F290753DF}"/>
              </a:ext>
            </a:extLst>
          </p:cNvPr>
          <p:cNvSpPr/>
          <p:nvPr/>
        </p:nvSpPr>
        <p:spPr>
          <a:xfrm>
            <a:off x="4927432" y="4415135"/>
            <a:ext cx="6807373" cy="798196"/>
          </a:xfrm>
          <a:prstGeom prst="roundRect">
            <a:avLst>
              <a:gd name="adj" fmla="val 27560"/>
            </a:avLst>
          </a:prstGeom>
          <a:solidFill>
            <a:schemeClr val="bg1"/>
          </a:solidFill>
          <a:ln w="38100" cmpd="sng">
            <a:solidFill>
              <a:srgbClr val="B5E4FB"/>
            </a:solidFill>
          </a:ln>
        </p:spPr>
        <p:txBody>
          <a:bodyPr wrap="square" lIns="144000" tIns="0" rIns="72000" bIns="0" rtlCol="0" anchor="ctr">
            <a:noAutofit/>
          </a:bodyPr>
          <a:lstStyle/>
          <a:p>
            <a:r>
              <a:rPr lang="sv-SE" sz="1600" b="1"/>
              <a:t>2.6 Miljö och fysisk aktivitet för psykisk hälsa</a:t>
            </a:r>
          </a:p>
          <a:p>
            <a:pPr lvl="0" defTabSz="1243880">
              <a:defRPr/>
            </a:pPr>
            <a:r>
              <a:rPr lang="sv-SE" sz="1600"/>
              <a:t>Hur kan individens psykiska hälsa främjas genom exempelvis fysisk aktivitet och naturupplevelser?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01DE0429-4FCD-4DAD-B47A-D6F643A3ECE9}"/>
              </a:ext>
            </a:extLst>
          </p:cNvPr>
          <p:cNvSpPr/>
          <p:nvPr/>
        </p:nvSpPr>
        <p:spPr>
          <a:xfrm>
            <a:off x="4927432" y="5328011"/>
            <a:ext cx="6807373" cy="798196"/>
          </a:xfrm>
          <a:prstGeom prst="roundRect">
            <a:avLst>
              <a:gd name="adj" fmla="val 27560"/>
            </a:avLst>
          </a:prstGeom>
          <a:solidFill>
            <a:schemeClr val="bg1"/>
          </a:solidFill>
          <a:ln w="38100" cmpd="sng">
            <a:solidFill>
              <a:srgbClr val="B5E4FB"/>
            </a:solidFill>
          </a:ln>
        </p:spPr>
        <p:txBody>
          <a:bodyPr wrap="square" lIns="144000" tIns="0" rIns="72000" bIns="0" rtlCol="0" anchor="ctr">
            <a:noAutofit/>
          </a:bodyPr>
          <a:lstStyle/>
          <a:p>
            <a:r>
              <a:rPr lang="sv-SE" sz="1600" b="1" dirty="0"/>
              <a:t>2.7 Hälsofrämjande digitalt liv</a:t>
            </a:r>
          </a:p>
          <a:p>
            <a:pPr lvl="0" defTabSz="1243880">
              <a:defRPr/>
            </a:pPr>
            <a:r>
              <a:rPr lang="sv-SE" sz="1600" dirty="0"/>
              <a:t>Hur kan vi hjälpa människor att ha ett hälsofrämjande digitalt liv, i fråga om exempelvis tillgänglighet?</a:t>
            </a:r>
          </a:p>
        </p:txBody>
      </p:sp>
    </p:spTree>
    <p:extLst>
      <p:ext uri="{BB962C8B-B14F-4D97-AF65-F5344CB8AC3E}">
        <p14:creationId xmlns:p14="http://schemas.microsoft.com/office/powerpoint/2010/main" val="10043196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B20DFA83-F5B5-4B07-83C5-36E0AAA39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444" y="945867"/>
            <a:ext cx="4435689" cy="714501"/>
          </a:xfrm>
        </p:spPr>
        <p:txBody>
          <a:bodyPr/>
          <a:lstStyle/>
          <a:p>
            <a:pPr rtl="0" eaLnBrk="1" latinLnBrk="0" hangingPunct="1"/>
            <a:r>
              <a:rPr lang="sv-SE" sz="2000" b="1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. Hållbara stöd till de som behöver</a:t>
            </a:r>
            <a:endParaRPr lang="sv-SE" dirty="0"/>
          </a:p>
        </p:txBody>
      </p:sp>
      <p:sp>
        <p:nvSpPr>
          <p:cNvPr id="40" name="Trapezoid 39">
            <a:extLst>
              <a:ext uri="{FF2B5EF4-FFF2-40B4-BE49-F238E27FC236}">
                <a16:creationId xmlns:a16="http://schemas.microsoft.com/office/drawing/2014/main" id="{C734B011-FA07-48F9-8866-DDD2F79931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>
            <a:off x="2098563" y="3159178"/>
            <a:ext cx="5230679" cy="452461"/>
          </a:xfrm>
          <a:prstGeom prst="trapezoid">
            <a:avLst>
              <a:gd name="adj" fmla="val 213013"/>
            </a:avLst>
          </a:prstGeom>
          <a:solidFill>
            <a:srgbClr val="B5E4FB"/>
          </a:solidFill>
          <a:ln>
            <a:solidFill>
              <a:srgbClr val="B5E4F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400"/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C73F057F-3BA4-43E6-B1A5-44A0A7A6BF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4444" y="1775888"/>
            <a:ext cx="3983228" cy="3219040"/>
          </a:xfrm>
          <a:prstGeom prst="rect">
            <a:avLst/>
          </a:prstGeom>
          <a:solidFill>
            <a:schemeClr val="bg1"/>
          </a:solidFill>
          <a:ln w="38100" cmpd="sng">
            <a:solidFill>
              <a:srgbClr val="B5E4FB"/>
            </a:solidFill>
          </a:ln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ED5EA518-4D91-4A1B-B5F3-58EB7C4EE14C}"/>
              </a:ext>
            </a:extLst>
          </p:cNvPr>
          <p:cNvSpPr/>
          <p:nvPr/>
        </p:nvSpPr>
        <p:spPr>
          <a:xfrm>
            <a:off x="4940133" y="196288"/>
            <a:ext cx="5867567" cy="3366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6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örslag nationella </a:t>
            </a:r>
            <a:r>
              <a:rPr kumimoji="0" lang="sv-SE" sz="16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larenor: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9846AB19-0090-497F-9552-0C2461445EF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4927432" y="656731"/>
            <a:ext cx="6807373" cy="864000"/>
          </a:xfrm>
          <a:prstGeom prst="roundRect">
            <a:avLst>
              <a:gd name="adj" fmla="val 27560"/>
            </a:avLst>
          </a:prstGeom>
          <a:solidFill>
            <a:schemeClr val="bg1"/>
          </a:solidFill>
          <a:ln w="38100" cmpd="sng">
            <a:solidFill>
              <a:srgbClr val="B5E4FB"/>
            </a:solidFill>
          </a:ln>
        </p:spPr>
        <p:txBody>
          <a:bodyPr wrap="square" lIns="144000" tIns="0" rIns="72000" bIns="0" rtlCol="0" anchor="ctr">
            <a:noAutofit/>
          </a:bodyPr>
          <a:lstStyle/>
          <a:p>
            <a:pPr lvl="0" defTabSz="1243880">
              <a:defRPr/>
            </a:pPr>
            <a:r>
              <a:rPr lang="sv-SE" sz="1600" b="1" dirty="0"/>
              <a:t>3.1 Hela samhällets suicidprevention</a:t>
            </a:r>
          </a:p>
          <a:p>
            <a:r>
              <a:rPr lang="sv-SE" sz="1600" dirty="0"/>
              <a:t>Vad kan göras tvärs hela samhället för att förbättra det suicidpreventiva arbetet?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E64711CC-5BE6-4A1D-9632-EBE27918B936}"/>
              </a:ext>
            </a:extLst>
          </p:cNvPr>
          <p:cNvSpPr/>
          <p:nvPr/>
        </p:nvSpPr>
        <p:spPr>
          <a:xfrm>
            <a:off x="4940133" y="1614800"/>
            <a:ext cx="6807373" cy="864000"/>
          </a:xfrm>
          <a:prstGeom prst="roundRect">
            <a:avLst>
              <a:gd name="adj" fmla="val 27560"/>
            </a:avLst>
          </a:prstGeom>
          <a:solidFill>
            <a:schemeClr val="bg1"/>
          </a:solidFill>
          <a:ln w="38100" cmpd="sng">
            <a:solidFill>
              <a:srgbClr val="B5E4FB"/>
            </a:solidFill>
          </a:ln>
        </p:spPr>
        <p:txBody>
          <a:bodyPr wrap="square" lIns="144000" tIns="0" rIns="72000" bIns="0" rtlCol="0" anchor="ctr">
            <a:noAutofit/>
          </a:bodyPr>
          <a:lstStyle/>
          <a:p>
            <a:r>
              <a:rPr lang="sv-SE" sz="1600" b="1" dirty="0"/>
              <a:t>3.2 </a:t>
            </a:r>
            <a:r>
              <a:rPr lang="sv-SE" sz="1600" b="1" dirty="0">
                <a:ea typeface="Georgia" panose="02040502050405020303" pitchFamily="18" charset="0"/>
                <a:cs typeface="Times New Roman" panose="02020603050405020304" pitchFamily="18" charset="0"/>
              </a:rPr>
              <a:t>Smart tillgänglighet till hjälp</a:t>
            </a:r>
          </a:p>
          <a:p>
            <a:r>
              <a:rPr lang="sv-SE" sz="1600" dirty="0"/>
              <a:t>Hur kan tillgängligheten till första linjen på distans och digitalt förbättras</a:t>
            </a:r>
            <a:r>
              <a:rPr lang="sv-SE" sz="1600" i="1" dirty="0"/>
              <a:t>?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1589D130-D162-47DB-8FCE-9AC8BC963633}"/>
              </a:ext>
            </a:extLst>
          </p:cNvPr>
          <p:cNvSpPr/>
          <p:nvPr/>
        </p:nvSpPr>
        <p:spPr>
          <a:xfrm>
            <a:off x="4927432" y="2572869"/>
            <a:ext cx="6807373" cy="864000"/>
          </a:xfrm>
          <a:prstGeom prst="roundRect">
            <a:avLst>
              <a:gd name="adj" fmla="val 27560"/>
            </a:avLst>
          </a:prstGeom>
          <a:solidFill>
            <a:schemeClr val="bg1"/>
          </a:solidFill>
          <a:ln w="38100" cmpd="sng">
            <a:solidFill>
              <a:srgbClr val="B5E4FB"/>
            </a:solidFill>
          </a:ln>
        </p:spPr>
        <p:txBody>
          <a:bodyPr wrap="square" lIns="144000" tIns="0" rIns="72000" bIns="0" rtlCol="0" anchor="ctr">
            <a:noAutofit/>
          </a:bodyPr>
          <a:lstStyle/>
          <a:p>
            <a:pPr marL="0" lvl="1"/>
            <a:r>
              <a:rPr lang="sv-SE" sz="1600" b="1"/>
              <a:t>3.3 </a:t>
            </a:r>
            <a:r>
              <a:rPr lang="sv-SE" sz="1600" b="1">
                <a:ea typeface="Georgia" panose="02040502050405020303" pitchFamily="18" charset="0"/>
                <a:cs typeface="Times New Roman" panose="02020603050405020304" pitchFamily="18" charset="0"/>
              </a:rPr>
              <a:t>Lokalt stöd för utsatta områden </a:t>
            </a:r>
          </a:p>
          <a:p>
            <a:pPr lvl="0" defTabSz="1243880">
              <a:defRPr/>
            </a:pPr>
            <a:r>
              <a:rPr lang="sv-SE" sz="1600">
                <a:solidFill>
                  <a:schemeClr val="dk1"/>
                </a:solidFill>
              </a:rPr>
              <a:t>Hur kan olika aktörer samverka för att ge ett kraftfullt stöd i utsatta områden?</a:t>
            </a:r>
            <a:endParaRPr lang="sv-SE" sz="1600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606E20FA-8619-4927-A940-AD5EF2B0DDD8}"/>
              </a:ext>
            </a:extLst>
          </p:cNvPr>
          <p:cNvSpPr/>
          <p:nvPr/>
        </p:nvSpPr>
        <p:spPr>
          <a:xfrm>
            <a:off x="4927432" y="3530938"/>
            <a:ext cx="6807373" cy="864000"/>
          </a:xfrm>
          <a:prstGeom prst="roundRect">
            <a:avLst>
              <a:gd name="adj" fmla="val 27560"/>
            </a:avLst>
          </a:prstGeom>
          <a:solidFill>
            <a:schemeClr val="bg1"/>
          </a:solidFill>
          <a:ln w="38100" cmpd="sng">
            <a:solidFill>
              <a:srgbClr val="B5E4FB"/>
            </a:solidFill>
          </a:ln>
        </p:spPr>
        <p:txBody>
          <a:bodyPr wrap="square" lIns="144000" tIns="0" rIns="72000" bIns="0" rtlCol="0" anchor="ctr">
            <a:noAutofit/>
          </a:bodyPr>
          <a:lstStyle/>
          <a:p>
            <a:pPr marL="0" lvl="1"/>
            <a:r>
              <a:rPr lang="sv-SE" sz="1600" b="1"/>
              <a:t>3.4 </a:t>
            </a:r>
            <a:r>
              <a:rPr lang="sv-SE" sz="1600" b="1">
                <a:ea typeface="Georgia" panose="02040502050405020303" pitchFamily="18" charset="0"/>
                <a:cs typeface="Times New Roman" panose="02020603050405020304" pitchFamily="18" charset="0"/>
              </a:rPr>
              <a:t>Utökat anhörigstöd</a:t>
            </a:r>
          </a:p>
          <a:p>
            <a:r>
              <a:rPr lang="sv-SE" sz="1600"/>
              <a:t>Hur kan samhället på bättre sätt stödja anhöriga (barn, unga, vuxna och äldre)?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115F9863-B68E-405E-ACE3-10B35A6A0E47}"/>
              </a:ext>
            </a:extLst>
          </p:cNvPr>
          <p:cNvSpPr/>
          <p:nvPr/>
        </p:nvSpPr>
        <p:spPr>
          <a:xfrm>
            <a:off x="4927432" y="4489007"/>
            <a:ext cx="6807373" cy="669191"/>
          </a:xfrm>
          <a:prstGeom prst="roundRect">
            <a:avLst>
              <a:gd name="adj" fmla="val 27560"/>
            </a:avLst>
          </a:prstGeom>
          <a:solidFill>
            <a:schemeClr val="bg1"/>
          </a:solidFill>
          <a:ln w="38100" cmpd="sng">
            <a:solidFill>
              <a:srgbClr val="B5E4FB"/>
            </a:solidFill>
          </a:ln>
        </p:spPr>
        <p:txBody>
          <a:bodyPr wrap="square" lIns="144000" tIns="0" rIns="72000" bIns="0" rtlCol="0" anchor="ctr">
            <a:noAutofit/>
          </a:bodyPr>
          <a:lstStyle/>
          <a:p>
            <a:r>
              <a:rPr lang="sv-SE" sz="1600" b="1" dirty="0"/>
              <a:t>3.5 </a:t>
            </a:r>
            <a:r>
              <a:rPr lang="sv-SE" sz="1600" b="1" dirty="0">
                <a:ea typeface="Georgia" panose="02040502050405020303" pitchFamily="18" charset="0"/>
                <a:cs typeface="Times New Roman" panose="02020603050405020304" pitchFamily="18" charset="0"/>
              </a:rPr>
              <a:t>Ändamålsenliga insatser för äldre med psykiatriska problem</a:t>
            </a:r>
            <a:endParaRPr lang="sv-SE" sz="1600" b="1" dirty="0"/>
          </a:p>
          <a:p>
            <a:r>
              <a:rPr lang="sv-SE" sz="1600" dirty="0"/>
              <a:t>Hur kan äldrepsykiatrin bli mer ändamålsenlig?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60A1538-320B-428C-A355-C389EC06A977}"/>
              </a:ext>
            </a:extLst>
          </p:cNvPr>
          <p:cNvSpPr/>
          <p:nvPr/>
        </p:nvSpPr>
        <p:spPr>
          <a:xfrm>
            <a:off x="4927432" y="5252268"/>
            <a:ext cx="6807373" cy="864000"/>
          </a:xfrm>
          <a:prstGeom prst="roundRect">
            <a:avLst>
              <a:gd name="adj" fmla="val 27560"/>
            </a:avLst>
          </a:prstGeom>
          <a:solidFill>
            <a:schemeClr val="bg1"/>
          </a:solidFill>
          <a:ln w="38100" cmpd="sng">
            <a:solidFill>
              <a:srgbClr val="B5E4FB"/>
            </a:solidFill>
          </a:ln>
        </p:spPr>
        <p:txBody>
          <a:bodyPr wrap="square" lIns="144000" tIns="0" rIns="72000" bIns="0" rtlCol="0" anchor="ctr">
            <a:noAutofit/>
          </a:bodyPr>
          <a:lstStyle/>
          <a:p>
            <a:r>
              <a:rPr lang="sv-SE" sz="1600" b="1" dirty="0"/>
              <a:t>3.6 Migration och psykisk hälsa</a:t>
            </a:r>
          </a:p>
          <a:p>
            <a:r>
              <a:rPr lang="sv-SE" sz="1600" dirty="0"/>
              <a:t>Hur kan insatser för asylsökandes och nyanländas psykiska hälsa förbättras</a:t>
            </a:r>
          </a:p>
        </p:txBody>
      </p:sp>
    </p:spTree>
    <p:extLst>
      <p:ext uri="{BB962C8B-B14F-4D97-AF65-F5344CB8AC3E}">
        <p14:creationId xmlns:p14="http://schemas.microsoft.com/office/powerpoint/2010/main" val="13635982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le 1">
            <a:extLst>
              <a:ext uri="{FF2B5EF4-FFF2-40B4-BE49-F238E27FC236}">
                <a16:creationId xmlns:a16="http://schemas.microsoft.com/office/drawing/2014/main" id="{3C710EF6-952E-472A-9283-7D66F395EE4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111125"/>
            <a:ext cx="11337925" cy="714375"/>
          </a:xfrm>
        </p:spPr>
        <p:txBody>
          <a:bodyPr/>
          <a:lstStyle/>
          <a:p>
            <a:r>
              <a:rPr lang="sv-SE" dirty="0"/>
              <a:t>Under våren 2020 startades sju delarenor upp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0EFF31C-8919-4461-8250-4BB9C9013896}"/>
              </a:ext>
            </a:extLst>
          </p:cNvPr>
          <p:cNvSpPr/>
          <p:nvPr/>
        </p:nvSpPr>
        <p:spPr>
          <a:xfrm>
            <a:off x="382975" y="1061095"/>
            <a:ext cx="3665555" cy="549575"/>
          </a:xfrm>
          <a:prstGeom prst="rect">
            <a:avLst/>
          </a:prstGeom>
        </p:spPr>
        <p:txBody>
          <a:bodyPr wrap="square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. Ett mer hälsofrämjande samhälle och levnadssätt</a:t>
            </a: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kumimoji="0" lang="sv-SE" sz="16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BA7D5DF1-5D9F-4385-9F59-D21D0A4F24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945584" y="129255"/>
            <a:ext cx="915753" cy="714501"/>
          </a:xfrm>
          <a:prstGeom prst="roundRect">
            <a:avLst>
              <a:gd name="adj" fmla="val 27560"/>
            </a:avLst>
          </a:prstGeom>
          <a:solidFill>
            <a:schemeClr val="bg1"/>
          </a:solidFill>
          <a:ln w="19050" cmpd="sng">
            <a:solidFill>
              <a:srgbClr val="B5E4FB"/>
            </a:solidFill>
          </a:ln>
        </p:spPr>
        <p:txBody>
          <a:bodyPr wrap="square" lIns="36000" tIns="0" rIns="3600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j uppstartad</a:t>
            </a:r>
          </a:p>
        </p:txBody>
      </p:sp>
      <p:grpSp>
        <p:nvGrpSpPr>
          <p:cNvPr id="11" name="Grupp 10" descr="Blå figur - Uppstartad.">
            <a:extLst>
              <a:ext uri="{FF2B5EF4-FFF2-40B4-BE49-F238E27FC236}">
                <a16:creationId xmlns:a16="http://schemas.microsoft.com/office/drawing/2014/main" id="{368E21A4-553F-4596-AFA4-EE30353930D6}"/>
              </a:ext>
            </a:extLst>
          </p:cNvPr>
          <p:cNvGrpSpPr/>
          <p:nvPr/>
        </p:nvGrpSpPr>
        <p:grpSpPr>
          <a:xfrm>
            <a:off x="10965521" y="96081"/>
            <a:ext cx="915753" cy="747675"/>
            <a:chOff x="10965521" y="96081"/>
            <a:chExt cx="915753" cy="747675"/>
          </a:xfrm>
        </p:grpSpPr>
        <p:sp>
          <p:nvSpPr>
            <p:cNvPr id="50" name="Rectangle: Rounded Corners 49">
              <a:extLst>
                <a:ext uri="{FF2B5EF4-FFF2-40B4-BE49-F238E27FC236}">
                  <a16:creationId xmlns:a16="http://schemas.microsoft.com/office/drawing/2014/main" id="{2DF331F0-2605-4655-992F-D9F1C8EB2DF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0965521" y="129255"/>
              <a:ext cx="915753" cy="714501"/>
            </a:xfrm>
            <a:prstGeom prst="roundRect">
              <a:avLst>
                <a:gd name="adj" fmla="val 27560"/>
              </a:avLst>
            </a:prstGeom>
            <a:solidFill>
              <a:srgbClr val="89D2F7"/>
            </a:solidFill>
            <a:ln w="19050" cmpd="sng">
              <a:solidFill>
                <a:srgbClr val="89D2F7"/>
              </a:solidFill>
            </a:ln>
          </p:spPr>
          <p:txBody>
            <a:bodyPr wrap="square" lIns="36000" tIns="0" rIns="3600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ppstartad</a:t>
              </a:r>
            </a:p>
          </p:txBody>
        </p:sp>
        <p:pic>
          <p:nvPicPr>
            <p:cNvPr id="52" name="Graphic 51">
              <a:extLst>
                <a:ext uri="{FF2B5EF4-FFF2-40B4-BE49-F238E27FC236}">
                  <a16:creationId xmlns:a16="http://schemas.microsoft.com/office/drawing/2014/main" id="{499E13A8-A46C-4E0C-B323-B554A4A2539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323527" y="96081"/>
              <a:ext cx="325579" cy="297648"/>
            </a:xfrm>
            <a:prstGeom prst="rect">
              <a:avLst/>
            </a:prstGeom>
          </p:spPr>
        </p:pic>
      </p:grpSp>
      <p:sp>
        <p:nvSpPr>
          <p:cNvPr id="33" name="Rectangle: Rounded Corners 32" descr="Ej uppstartad">
            <a:extLst>
              <a:ext uri="{FF2B5EF4-FFF2-40B4-BE49-F238E27FC236}">
                <a16:creationId xmlns:a16="http://schemas.microsoft.com/office/drawing/2014/main" id="{2FE15D42-686D-4E21-8E4B-489AD27ABC8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382977" y="1631594"/>
            <a:ext cx="3600000" cy="626515"/>
          </a:xfrm>
          <a:prstGeom prst="roundRect">
            <a:avLst>
              <a:gd name="adj" fmla="val 27560"/>
            </a:avLst>
          </a:prstGeom>
          <a:solidFill>
            <a:schemeClr val="bg1"/>
          </a:solidFill>
          <a:ln w="19050" cmpd="sng">
            <a:solidFill>
              <a:srgbClr val="B5E4FB"/>
            </a:solidFill>
          </a:ln>
        </p:spPr>
        <p:txBody>
          <a:bodyPr wrap="square" lIns="36000" tIns="0" rIns="18000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1 Mediabild och psykisk hälsa</a:t>
            </a:r>
          </a:p>
        </p:txBody>
      </p:sp>
      <p:sp>
        <p:nvSpPr>
          <p:cNvPr id="35" name="Rectangle: Rounded Corners 34" descr="Ej uppstartad">
            <a:extLst>
              <a:ext uri="{FF2B5EF4-FFF2-40B4-BE49-F238E27FC236}">
                <a16:creationId xmlns:a16="http://schemas.microsoft.com/office/drawing/2014/main" id="{E7C37C65-9923-4EF0-BA2D-E02420842D8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382977" y="2296671"/>
            <a:ext cx="3600000" cy="626515"/>
          </a:xfrm>
          <a:prstGeom prst="roundRect">
            <a:avLst>
              <a:gd name="adj" fmla="val 27560"/>
            </a:avLst>
          </a:prstGeom>
          <a:solidFill>
            <a:schemeClr val="bg1"/>
          </a:solidFill>
          <a:ln w="19050" cmpd="sng">
            <a:solidFill>
              <a:srgbClr val="B5E4FB"/>
            </a:solidFill>
          </a:ln>
        </p:spPr>
        <p:txBody>
          <a:bodyPr wrap="square" lIns="36000" tIns="0" rIns="18000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2 Urbaniseringskonsekvenser i stad och land </a:t>
            </a:r>
          </a:p>
        </p:txBody>
      </p:sp>
      <p:sp>
        <p:nvSpPr>
          <p:cNvPr id="37" name="Rectangle: Rounded Corners 36" descr="Ej uppstartad">
            <a:extLst>
              <a:ext uri="{FF2B5EF4-FFF2-40B4-BE49-F238E27FC236}">
                <a16:creationId xmlns:a16="http://schemas.microsoft.com/office/drawing/2014/main" id="{D9D24327-5579-4FA8-BBFB-BD6ACA38C61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382977" y="2961747"/>
            <a:ext cx="3600000" cy="626515"/>
          </a:xfrm>
          <a:prstGeom prst="roundRect">
            <a:avLst>
              <a:gd name="adj" fmla="val 27560"/>
            </a:avLst>
          </a:prstGeom>
          <a:solidFill>
            <a:schemeClr val="bg1"/>
          </a:solidFill>
          <a:ln w="19050" cmpd="sng">
            <a:solidFill>
              <a:srgbClr val="B5E4FB"/>
            </a:solidFill>
          </a:ln>
        </p:spPr>
        <p:txBody>
          <a:bodyPr wrap="square" lIns="36000" tIns="0" rIns="18000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3 Samhällsdiskussion om sociala medier</a:t>
            </a:r>
          </a:p>
        </p:txBody>
      </p:sp>
      <p:grpSp>
        <p:nvGrpSpPr>
          <p:cNvPr id="4" name="Grupp 3" descr="Uppstartad. 1.4 Meningsskapande i en sekulär tid">
            <a:extLst>
              <a:ext uri="{FF2B5EF4-FFF2-40B4-BE49-F238E27FC236}">
                <a16:creationId xmlns:a16="http://schemas.microsoft.com/office/drawing/2014/main" id="{E5CC5308-DA17-4E30-AF47-C7040B4D8F5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/>
        </p:nvGrpSpPr>
        <p:grpSpPr>
          <a:xfrm>
            <a:off x="382977" y="3626823"/>
            <a:ext cx="3600000" cy="626515"/>
            <a:chOff x="382977" y="3626823"/>
            <a:chExt cx="3600000" cy="626515"/>
          </a:xfrm>
        </p:grpSpPr>
        <p:sp>
          <p:nvSpPr>
            <p:cNvPr id="36" name="Rectangle: Rounded Corners 35" descr="Uppstartad">
              <a:extLst>
                <a:ext uri="{FF2B5EF4-FFF2-40B4-BE49-F238E27FC236}">
                  <a16:creationId xmlns:a16="http://schemas.microsoft.com/office/drawing/2014/main" id="{0E8645CD-A617-4266-A511-5C3A4EF66D7C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/>
            <p:nvPr/>
          </p:nvSpPr>
          <p:spPr>
            <a:xfrm>
              <a:off x="382977" y="3626823"/>
              <a:ext cx="3600000" cy="626515"/>
            </a:xfrm>
            <a:prstGeom prst="roundRect">
              <a:avLst>
                <a:gd name="adj" fmla="val 27560"/>
              </a:avLst>
            </a:prstGeom>
            <a:solidFill>
              <a:srgbClr val="89D2F7"/>
            </a:solidFill>
            <a:ln w="19050" cmpd="sng">
              <a:solidFill>
                <a:srgbClr val="89D2F7"/>
              </a:solidFill>
            </a:ln>
          </p:spPr>
          <p:txBody>
            <a:bodyPr wrap="square" lIns="36000" tIns="0" rIns="18000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.4 Meningsskapande i en sekulär tid</a:t>
              </a:r>
            </a:p>
          </p:txBody>
        </p:sp>
        <p:pic>
          <p:nvPicPr>
            <p:cNvPr id="47" name="Graphic 46">
              <a:extLst>
                <a:ext uri="{FF2B5EF4-FFF2-40B4-BE49-F238E27FC236}">
                  <a16:creationId xmlns:a16="http://schemas.microsoft.com/office/drawing/2014/main" id="{0B1785EB-6E83-4DB2-98B5-7E6320DC3C1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525776" y="3835361"/>
              <a:ext cx="457200" cy="417977"/>
            </a:xfrm>
            <a:prstGeom prst="rect">
              <a:avLst/>
            </a:prstGeom>
          </p:spPr>
        </p:pic>
      </p:grpSp>
      <p:sp>
        <p:nvSpPr>
          <p:cNvPr id="34" name="Rectangle: Rounded Corners 33" descr="Ej uppstartad">
            <a:extLst>
              <a:ext uri="{FF2B5EF4-FFF2-40B4-BE49-F238E27FC236}">
                <a16:creationId xmlns:a16="http://schemas.microsoft.com/office/drawing/2014/main" id="{E8E8E0F9-6E76-4635-AF13-A6F278F1E60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382976" y="4291900"/>
            <a:ext cx="3600000" cy="626515"/>
          </a:xfrm>
          <a:prstGeom prst="roundRect">
            <a:avLst>
              <a:gd name="adj" fmla="val 27560"/>
            </a:avLst>
          </a:prstGeom>
          <a:solidFill>
            <a:schemeClr val="bg1"/>
          </a:solidFill>
          <a:ln w="19050" cmpd="sng">
            <a:solidFill>
              <a:srgbClr val="B5E4FB"/>
            </a:solidFill>
          </a:ln>
        </p:spPr>
        <p:txBody>
          <a:bodyPr wrap="square" lIns="36000" tIns="0" rIns="18000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5 Arbetsliv för personer med psykiatriska tillstånd </a:t>
            </a:r>
          </a:p>
        </p:txBody>
      </p:sp>
      <p:sp>
        <p:nvSpPr>
          <p:cNvPr id="19" name="Rectangle: Rounded Corners 18" descr="Ej uppstartad">
            <a:extLst>
              <a:ext uri="{FF2B5EF4-FFF2-40B4-BE49-F238E27FC236}">
                <a16:creationId xmlns:a16="http://schemas.microsoft.com/office/drawing/2014/main" id="{BD88F328-DD9D-4A88-82FA-CDD2CD4B613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382976" y="4956976"/>
            <a:ext cx="3600000" cy="626515"/>
          </a:xfrm>
          <a:prstGeom prst="roundRect">
            <a:avLst>
              <a:gd name="adj" fmla="val 27560"/>
            </a:avLst>
          </a:prstGeom>
          <a:solidFill>
            <a:schemeClr val="bg1"/>
          </a:solidFill>
          <a:ln w="19050" cmpd="sng">
            <a:solidFill>
              <a:srgbClr val="B5E4FB"/>
            </a:solidFill>
          </a:ln>
        </p:spPr>
        <p:txBody>
          <a:bodyPr wrap="square" lIns="36000" tIns="0" rIns="18000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6 Framtidstro i samhällsdiskussionen </a:t>
            </a:r>
          </a:p>
        </p:txBody>
      </p:sp>
      <p:grpSp>
        <p:nvGrpSpPr>
          <p:cNvPr id="5" name="Grupp 4" descr="Uppstartad. 1.7 Samhällsmobiliseringnör narkotikaprevention">
            <a:extLst>
              <a:ext uri="{FF2B5EF4-FFF2-40B4-BE49-F238E27FC236}">
                <a16:creationId xmlns:a16="http://schemas.microsoft.com/office/drawing/2014/main" id="{CA44566A-4F6C-4F45-AD37-FDE8CE836380}"/>
              </a:ext>
            </a:extLst>
          </p:cNvPr>
          <p:cNvGrpSpPr/>
          <p:nvPr/>
        </p:nvGrpSpPr>
        <p:grpSpPr>
          <a:xfrm>
            <a:off x="382976" y="5622051"/>
            <a:ext cx="3600000" cy="626515"/>
            <a:chOff x="382976" y="5622051"/>
            <a:chExt cx="3600000" cy="626515"/>
          </a:xfrm>
        </p:grpSpPr>
        <p:sp>
          <p:nvSpPr>
            <p:cNvPr id="18" name="Rectangle: Rounded Corners 17" descr="Uppstartad">
              <a:extLst>
                <a:ext uri="{FF2B5EF4-FFF2-40B4-BE49-F238E27FC236}">
                  <a16:creationId xmlns:a16="http://schemas.microsoft.com/office/drawing/2014/main" id="{6F41597F-A058-4192-A565-8FD24B9FC6E3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/>
            <p:nvPr/>
          </p:nvSpPr>
          <p:spPr>
            <a:xfrm>
              <a:off x="382976" y="5622051"/>
              <a:ext cx="3600000" cy="626515"/>
            </a:xfrm>
            <a:prstGeom prst="roundRect">
              <a:avLst>
                <a:gd name="adj" fmla="val 27560"/>
              </a:avLst>
            </a:prstGeom>
            <a:solidFill>
              <a:srgbClr val="89D2F7"/>
            </a:solidFill>
            <a:ln w="19050" cmpd="sng">
              <a:solidFill>
                <a:srgbClr val="89D2F7"/>
              </a:solidFill>
            </a:ln>
          </p:spPr>
          <p:txBody>
            <a:bodyPr wrap="square" lIns="36000" tIns="0" rIns="18000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.7 Samhällsmobilisering för narkotikaprevention</a:t>
              </a:r>
              <a:endPara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6C456940-C319-499F-B169-3257D732119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525776" y="5825856"/>
              <a:ext cx="457200" cy="417977"/>
            </a:xfrm>
            <a:prstGeom prst="rect">
              <a:avLst/>
            </a:prstGeom>
          </p:spPr>
        </p:pic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462E9F3F-AAF8-466F-AFA7-F4B1838064F2}"/>
              </a:ext>
            </a:extLst>
          </p:cNvPr>
          <p:cNvSpPr/>
          <p:nvPr/>
        </p:nvSpPr>
        <p:spPr>
          <a:xfrm>
            <a:off x="4225613" y="1061095"/>
            <a:ext cx="3740775" cy="549575"/>
          </a:xfrm>
          <a:prstGeom prst="rect">
            <a:avLst/>
          </a:prstGeom>
        </p:spPr>
        <p:txBody>
          <a:bodyPr wrap="square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2. Individer som är rustade för att nå sin fulla potential och välmående</a:t>
            </a:r>
          </a:p>
        </p:txBody>
      </p:sp>
      <p:sp>
        <p:nvSpPr>
          <p:cNvPr id="21" name="Rectangle: Rounded Corners 20" descr="Uppstartad">
            <a:extLst>
              <a:ext uri="{FF2B5EF4-FFF2-40B4-BE49-F238E27FC236}">
                <a16:creationId xmlns:a16="http://schemas.microsoft.com/office/drawing/2014/main" id="{1FAF82D1-F4C1-4218-A4A9-7A332BF4CDF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4296000" y="1631966"/>
            <a:ext cx="3600000" cy="626515"/>
          </a:xfrm>
          <a:prstGeom prst="roundRect">
            <a:avLst>
              <a:gd name="adj" fmla="val 27560"/>
            </a:avLst>
          </a:prstGeom>
          <a:solidFill>
            <a:srgbClr val="89D2F7"/>
          </a:solidFill>
          <a:ln w="19050" cmpd="sng">
            <a:solidFill>
              <a:srgbClr val="89D2F7"/>
            </a:solidFill>
          </a:ln>
        </p:spPr>
        <p:txBody>
          <a:bodyPr wrap="square" lIns="36000" tIns="0" rIns="18000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.1 Fungerande skolgång för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rn och unga med NPF</a:t>
            </a:r>
          </a:p>
        </p:txBody>
      </p:sp>
      <p:pic>
        <p:nvPicPr>
          <p:cNvPr id="40" name="Graphic 39">
            <a:extLst>
              <a:ext uri="{FF2B5EF4-FFF2-40B4-BE49-F238E27FC236}">
                <a16:creationId xmlns:a16="http://schemas.microsoft.com/office/drawing/2014/main" id="{E9064B4D-5BD3-4488-B8C0-DB46F7FDDC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366712" y="1835001"/>
            <a:ext cx="457200" cy="417977"/>
          </a:xfrm>
          <a:prstGeom prst="rect">
            <a:avLst/>
          </a:prstGeom>
        </p:spPr>
      </p:pic>
      <p:sp>
        <p:nvSpPr>
          <p:cNvPr id="22" name="Rectangle: Rounded Corners 21" descr="Ej uppstartad">
            <a:extLst>
              <a:ext uri="{FF2B5EF4-FFF2-40B4-BE49-F238E27FC236}">
                <a16:creationId xmlns:a16="http://schemas.microsoft.com/office/drawing/2014/main" id="{1533D27F-E247-430A-AFB8-4785BDEF638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4296000" y="2297703"/>
            <a:ext cx="3600000" cy="626515"/>
          </a:xfrm>
          <a:prstGeom prst="roundRect">
            <a:avLst>
              <a:gd name="adj" fmla="val 27560"/>
            </a:avLst>
          </a:prstGeom>
          <a:solidFill>
            <a:schemeClr val="bg1"/>
          </a:solidFill>
          <a:ln w="19050" cmpd="sng">
            <a:solidFill>
              <a:srgbClr val="B5E4FB"/>
            </a:solidFill>
          </a:ln>
        </p:spPr>
        <p:txBody>
          <a:bodyPr wrap="square" lIns="36000" tIns="0" rIns="18000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.2 Etisk stress i arbetslivet</a:t>
            </a:r>
          </a:p>
        </p:txBody>
      </p:sp>
      <p:grpSp>
        <p:nvGrpSpPr>
          <p:cNvPr id="7" name="Grupp 6" descr="Uppstartad. 2.3 Huskurer för psykisk hälsa">
            <a:extLst>
              <a:ext uri="{FF2B5EF4-FFF2-40B4-BE49-F238E27FC236}">
                <a16:creationId xmlns:a16="http://schemas.microsoft.com/office/drawing/2014/main" id="{1378BEFC-B2A8-4296-BDEC-DD1B444FFC90}"/>
              </a:ext>
            </a:extLst>
          </p:cNvPr>
          <p:cNvGrpSpPr/>
          <p:nvPr/>
        </p:nvGrpSpPr>
        <p:grpSpPr>
          <a:xfrm>
            <a:off x="4296000" y="2963440"/>
            <a:ext cx="3600000" cy="626515"/>
            <a:chOff x="4296000" y="2963440"/>
            <a:chExt cx="3600000" cy="626515"/>
          </a:xfrm>
        </p:grpSpPr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08F7BCA5-6A8A-4216-AB89-B96C89FF1F85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/>
            <p:nvPr/>
          </p:nvSpPr>
          <p:spPr>
            <a:xfrm>
              <a:off x="4296000" y="2963440"/>
              <a:ext cx="3600000" cy="626515"/>
            </a:xfrm>
            <a:prstGeom prst="roundRect">
              <a:avLst>
                <a:gd name="adj" fmla="val 27560"/>
              </a:avLst>
            </a:prstGeom>
            <a:solidFill>
              <a:srgbClr val="89D2F7"/>
            </a:solidFill>
            <a:ln w="19050" cmpd="sng">
              <a:solidFill>
                <a:srgbClr val="D3EFFD"/>
              </a:solidFill>
            </a:ln>
          </p:spPr>
          <p:txBody>
            <a:bodyPr wrap="square" lIns="36000" tIns="0" rIns="180000" bIns="0" rtlCol="0" anchor="ctr">
              <a:noAutofit/>
            </a:bodyPr>
            <a:lstStyle/>
            <a:p>
              <a:pPr marL="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.3 Huskurer för psykisk hälsa </a:t>
              </a:r>
            </a:p>
          </p:txBody>
        </p:sp>
        <p:pic>
          <p:nvPicPr>
            <p:cNvPr id="54" name="Graphic 53">
              <a:extLst>
                <a:ext uri="{FF2B5EF4-FFF2-40B4-BE49-F238E27FC236}">
                  <a16:creationId xmlns:a16="http://schemas.microsoft.com/office/drawing/2014/main" id="{A1FAFC89-1030-496E-A1F1-44AFF0EF9F6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366712" y="3149702"/>
              <a:ext cx="457200" cy="417977"/>
            </a:xfrm>
            <a:prstGeom prst="rect">
              <a:avLst/>
            </a:prstGeom>
          </p:spPr>
        </p:pic>
      </p:grpSp>
      <p:sp>
        <p:nvSpPr>
          <p:cNvPr id="23" name="Rectangle: Rounded Corners 22" descr="Ej uppstartad">
            <a:extLst>
              <a:ext uri="{FF2B5EF4-FFF2-40B4-BE49-F238E27FC236}">
                <a16:creationId xmlns:a16="http://schemas.microsoft.com/office/drawing/2014/main" id="{1AA78A68-6DB6-4B03-A3B5-6B84F3E3403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4296000" y="3629177"/>
            <a:ext cx="3600000" cy="626515"/>
          </a:xfrm>
          <a:prstGeom prst="roundRect">
            <a:avLst>
              <a:gd name="adj" fmla="val 27560"/>
            </a:avLst>
          </a:prstGeom>
          <a:solidFill>
            <a:schemeClr val="bg1"/>
          </a:solidFill>
          <a:ln w="19050" cmpd="sng">
            <a:solidFill>
              <a:srgbClr val="B5E4FB"/>
            </a:solidFill>
          </a:ln>
        </p:spPr>
        <p:txBody>
          <a:bodyPr wrap="square" lIns="36000" tIns="0" rIns="180000" bIns="0" rtlCol="0" anchor="ctr">
            <a:no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.4 Rusta barn och unga </a:t>
            </a:r>
          </a:p>
        </p:txBody>
      </p:sp>
      <p:sp>
        <p:nvSpPr>
          <p:cNvPr id="25" name="Rectangle: Rounded Corners 24" descr="Ej uppstartad">
            <a:extLst>
              <a:ext uri="{FF2B5EF4-FFF2-40B4-BE49-F238E27FC236}">
                <a16:creationId xmlns:a16="http://schemas.microsoft.com/office/drawing/2014/main" id="{3CAB0ACF-9D81-45F5-BC5B-A06E705DF42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4296000" y="4294914"/>
            <a:ext cx="3600000" cy="626515"/>
          </a:xfrm>
          <a:prstGeom prst="roundRect">
            <a:avLst>
              <a:gd name="adj" fmla="val 27560"/>
            </a:avLst>
          </a:prstGeom>
          <a:solidFill>
            <a:schemeClr val="bg1"/>
          </a:solidFill>
          <a:ln w="19050" cmpd="sng">
            <a:solidFill>
              <a:srgbClr val="B5E4FB"/>
            </a:solidFill>
          </a:ln>
        </p:spPr>
        <p:txBody>
          <a:bodyPr wrap="square" lIns="36000" tIns="0" rIns="18000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.5 Ofrivillig ensamhet bland äldre</a:t>
            </a:r>
          </a:p>
        </p:txBody>
      </p:sp>
      <p:sp>
        <p:nvSpPr>
          <p:cNvPr id="27" name="Rectangle: Rounded Corners 26" descr="Ej uppstartad">
            <a:extLst>
              <a:ext uri="{FF2B5EF4-FFF2-40B4-BE49-F238E27FC236}">
                <a16:creationId xmlns:a16="http://schemas.microsoft.com/office/drawing/2014/main" id="{CF54AEF8-FFD3-4635-8A8B-E3F92AD3B26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4296000" y="4960650"/>
            <a:ext cx="3600000" cy="626515"/>
          </a:xfrm>
          <a:prstGeom prst="roundRect">
            <a:avLst>
              <a:gd name="adj" fmla="val 27560"/>
            </a:avLst>
          </a:prstGeom>
          <a:solidFill>
            <a:schemeClr val="bg1"/>
          </a:solidFill>
          <a:ln w="19050" cmpd="sng">
            <a:solidFill>
              <a:srgbClr val="B5E4FB"/>
            </a:solidFill>
          </a:ln>
        </p:spPr>
        <p:txBody>
          <a:bodyPr wrap="square" lIns="36000" tIns="0" rIns="18000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.6 Miljö och fysisk aktivitet för psykisk hälsa</a:t>
            </a:r>
          </a:p>
        </p:txBody>
      </p:sp>
      <p:grpSp>
        <p:nvGrpSpPr>
          <p:cNvPr id="6" name="Grupp 5" descr="Uppstartad">
            <a:extLst>
              <a:ext uri="{FF2B5EF4-FFF2-40B4-BE49-F238E27FC236}">
                <a16:creationId xmlns:a16="http://schemas.microsoft.com/office/drawing/2014/main" id="{B1D3EBCD-402B-4CBF-B89B-DD14848C2AA9}"/>
              </a:ext>
            </a:extLst>
          </p:cNvPr>
          <p:cNvGrpSpPr/>
          <p:nvPr/>
        </p:nvGrpSpPr>
        <p:grpSpPr>
          <a:xfrm>
            <a:off x="4296000" y="5626387"/>
            <a:ext cx="3600000" cy="626515"/>
            <a:chOff x="4296000" y="5626387"/>
            <a:chExt cx="3600000" cy="626515"/>
          </a:xfrm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3977833D-A447-46CE-A656-57D73D595F36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/>
            <p:nvPr/>
          </p:nvSpPr>
          <p:spPr>
            <a:xfrm>
              <a:off x="4296000" y="5626387"/>
              <a:ext cx="3600000" cy="626515"/>
            </a:xfrm>
            <a:prstGeom prst="roundRect">
              <a:avLst>
                <a:gd name="adj" fmla="val 27560"/>
              </a:avLst>
            </a:prstGeom>
            <a:solidFill>
              <a:srgbClr val="89D2F7"/>
            </a:solidFill>
            <a:ln w="19050" cmpd="sng">
              <a:solidFill>
                <a:srgbClr val="D3EFFD"/>
              </a:solidFill>
            </a:ln>
          </p:spPr>
          <p:txBody>
            <a:bodyPr wrap="square" lIns="36000" tIns="0" rIns="18000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.7 Hälsofrämjande digitalt liv</a:t>
              </a:r>
            </a:p>
          </p:txBody>
        </p:sp>
        <p:pic>
          <p:nvPicPr>
            <p:cNvPr id="53" name="Graphic 52">
              <a:extLst>
                <a:ext uri="{FF2B5EF4-FFF2-40B4-BE49-F238E27FC236}">
                  <a16:creationId xmlns:a16="http://schemas.microsoft.com/office/drawing/2014/main" id="{66A6D699-0E5B-47B7-870A-BD9B22BF68B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366712" y="5796905"/>
              <a:ext cx="457200" cy="417977"/>
            </a:xfrm>
            <a:prstGeom prst="rect">
              <a:avLst/>
            </a:prstGeom>
          </p:spPr>
        </p:pic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7DBD865E-20E6-4929-A331-03F9DC78D469}"/>
              </a:ext>
            </a:extLst>
          </p:cNvPr>
          <p:cNvSpPr/>
          <p:nvPr/>
        </p:nvSpPr>
        <p:spPr>
          <a:xfrm>
            <a:off x="8080949" y="1061095"/>
            <a:ext cx="3740775" cy="549575"/>
          </a:xfrm>
          <a:prstGeom prst="rect">
            <a:avLst/>
          </a:prstGeom>
        </p:spPr>
        <p:txBody>
          <a:bodyPr wrap="square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3. Hållbara stöd till de som behöver</a:t>
            </a:r>
          </a:p>
        </p:txBody>
      </p:sp>
      <p:grpSp>
        <p:nvGrpSpPr>
          <p:cNvPr id="9" name="Grupp 8" descr="Uppstartad">
            <a:extLst>
              <a:ext uri="{FF2B5EF4-FFF2-40B4-BE49-F238E27FC236}">
                <a16:creationId xmlns:a16="http://schemas.microsoft.com/office/drawing/2014/main" id="{81535CDB-0E4D-4312-B7ED-CE6622D7B893}"/>
              </a:ext>
            </a:extLst>
          </p:cNvPr>
          <p:cNvGrpSpPr/>
          <p:nvPr/>
        </p:nvGrpSpPr>
        <p:grpSpPr>
          <a:xfrm>
            <a:off x="8221724" y="1631966"/>
            <a:ext cx="3600000" cy="626515"/>
            <a:chOff x="8221724" y="1631966"/>
            <a:chExt cx="3600000" cy="626515"/>
          </a:xfrm>
        </p:grpSpPr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900B10A8-2C07-45EC-ADA9-98C3802C1832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/>
            <p:nvPr/>
          </p:nvSpPr>
          <p:spPr>
            <a:xfrm>
              <a:off x="8221724" y="1631966"/>
              <a:ext cx="3600000" cy="626515"/>
            </a:xfrm>
            <a:prstGeom prst="roundRect">
              <a:avLst>
                <a:gd name="adj" fmla="val 27560"/>
              </a:avLst>
            </a:prstGeom>
            <a:solidFill>
              <a:srgbClr val="89D2F7"/>
            </a:solidFill>
            <a:ln w="19050" cmpd="sng">
              <a:solidFill>
                <a:srgbClr val="89D2F7"/>
              </a:solidFill>
            </a:ln>
          </p:spPr>
          <p:txBody>
            <a:bodyPr wrap="square" lIns="36000" tIns="0" rIns="18000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.1 Hela samhällets suicidprevention</a:t>
              </a:r>
            </a:p>
          </p:txBody>
        </p:sp>
        <p:pic>
          <p:nvPicPr>
            <p:cNvPr id="51" name="Graphic 50">
              <a:extLst>
                <a:ext uri="{FF2B5EF4-FFF2-40B4-BE49-F238E27FC236}">
                  <a16:creationId xmlns:a16="http://schemas.microsoft.com/office/drawing/2014/main" id="{F69C657B-70E4-457A-B2B4-431C36A06D5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281487" y="1807589"/>
              <a:ext cx="457200" cy="417977"/>
            </a:xfrm>
            <a:prstGeom prst="rect">
              <a:avLst/>
            </a:prstGeom>
          </p:spPr>
        </p:pic>
      </p:grpSp>
      <p:grpSp>
        <p:nvGrpSpPr>
          <p:cNvPr id="10" name="Grupp 9" descr="Uppstartad. Smart tilgänglighet till hjälp.">
            <a:extLst>
              <a:ext uri="{FF2B5EF4-FFF2-40B4-BE49-F238E27FC236}">
                <a16:creationId xmlns:a16="http://schemas.microsoft.com/office/drawing/2014/main" id="{00DCC6E0-9FA2-486A-940A-A654494E478D}"/>
              </a:ext>
            </a:extLst>
          </p:cNvPr>
          <p:cNvGrpSpPr/>
          <p:nvPr/>
        </p:nvGrpSpPr>
        <p:grpSpPr>
          <a:xfrm>
            <a:off x="8221724" y="2297703"/>
            <a:ext cx="3600000" cy="626515"/>
            <a:chOff x="8221724" y="2297703"/>
            <a:chExt cx="3600000" cy="626515"/>
          </a:xfrm>
        </p:grpSpPr>
        <p:sp>
          <p:nvSpPr>
            <p:cNvPr id="42" name="Rectangle: Rounded Corners 41" descr="Uppstartad">
              <a:extLst>
                <a:ext uri="{FF2B5EF4-FFF2-40B4-BE49-F238E27FC236}">
                  <a16:creationId xmlns:a16="http://schemas.microsoft.com/office/drawing/2014/main" id="{BBBE265C-DF66-43B1-A4C2-67C7B9FD717E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SpPr/>
            <p:nvPr/>
          </p:nvSpPr>
          <p:spPr>
            <a:xfrm>
              <a:off x="8221724" y="2297703"/>
              <a:ext cx="3600000" cy="626515"/>
            </a:xfrm>
            <a:prstGeom prst="roundRect">
              <a:avLst>
                <a:gd name="adj" fmla="val 27560"/>
              </a:avLst>
            </a:prstGeom>
            <a:solidFill>
              <a:srgbClr val="89D2F7"/>
            </a:solidFill>
            <a:ln w="19050" cmpd="sng">
              <a:solidFill>
                <a:srgbClr val="D3EFFD"/>
              </a:solidFill>
            </a:ln>
          </p:spPr>
          <p:txBody>
            <a:bodyPr wrap="square" lIns="36000" tIns="0" rIns="18000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.2 </a:t>
              </a:r>
              <a:r>
                <a:rPr kumimoji="0" lang="sv-SE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Georgia" panose="02040502050405020303" pitchFamily="18" charset="0"/>
                  <a:cs typeface="Times New Roman" panose="02020603050405020304" pitchFamily="18" charset="0"/>
                </a:rPr>
                <a:t>Smart tillgänglighet till hjälp</a:t>
              </a:r>
            </a:p>
          </p:txBody>
        </p:sp>
        <p:pic>
          <p:nvPicPr>
            <p:cNvPr id="46" name="Graphic 45">
              <a:extLst>
                <a:ext uri="{FF2B5EF4-FFF2-40B4-BE49-F238E27FC236}">
                  <a16:creationId xmlns:a16="http://schemas.microsoft.com/office/drawing/2014/main" id="{3DCDF0D1-6D41-4B2D-BBED-981EF98301F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334448" y="2476990"/>
              <a:ext cx="457200" cy="417977"/>
            </a:xfrm>
            <a:prstGeom prst="rect">
              <a:avLst/>
            </a:prstGeom>
          </p:spPr>
        </p:pic>
      </p:grpSp>
      <p:sp>
        <p:nvSpPr>
          <p:cNvPr id="45" name="Rectangle: Rounded Corners 44" descr="Ej uppstartad">
            <a:extLst>
              <a:ext uri="{FF2B5EF4-FFF2-40B4-BE49-F238E27FC236}">
                <a16:creationId xmlns:a16="http://schemas.microsoft.com/office/drawing/2014/main" id="{E10D965A-290B-49BB-8BE8-F02868B062D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8221724" y="2963439"/>
            <a:ext cx="3600000" cy="626515"/>
          </a:xfrm>
          <a:prstGeom prst="roundRect">
            <a:avLst>
              <a:gd name="adj" fmla="val 27560"/>
            </a:avLst>
          </a:prstGeom>
          <a:solidFill>
            <a:schemeClr val="bg1"/>
          </a:solidFill>
          <a:ln w="19050" cmpd="sng">
            <a:solidFill>
              <a:srgbClr val="B5E4FB"/>
            </a:solidFill>
          </a:ln>
        </p:spPr>
        <p:txBody>
          <a:bodyPr wrap="square" lIns="36000" tIns="0" rIns="180000" bIns="0" rtlCol="0" anchor="ctr">
            <a:no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.3 </a:t>
            </a: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Georgia" panose="02040502050405020303" pitchFamily="18" charset="0"/>
                <a:cs typeface="Times New Roman" panose="02020603050405020304" pitchFamily="18" charset="0"/>
              </a:rPr>
              <a:t>Lokalt stöd för utsatta områden </a:t>
            </a:r>
          </a:p>
        </p:txBody>
      </p:sp>
      <p:sp>
        <p:nvSpPr>
          <p:cNvPr id="43" name="Rectangle: Rounded Corners 42" descr="Ej uppstartad">
            <a:extLst>
              <a:ext uri="{FF2B5EF4-FFF2-40B4-BE49-F238E27FC236}">
                <a16:creationId xmlns:a16="http://schemas.microsoft.com/office/drawing/2014/main" id="{6EB6AC75-09AA-46BC-A8CE-C4BFD7AAB40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8221724" y="3629176"/>
            <a:ext cx="3600000" cy="626515"/>
          </a:xfrm>
          <a:prstGeom prst="roundRect">
            <a:avLst>
              <a:gd name="adj" fmla="val 27560"/>
            </a:avLst>
          </a:prstGeom>
          <a:solidFill>
            <a:schemeClr val="bg1"/>
          </a:solidFill>
          <a:ln w="19050" cmpd="sng">
            <a:solidFill>
              <a:srgbClr val="B5E4FB"/>
            </a:solidFill>
          </a:ln>
        </p:spPr>
        <p:txBody>
          <a:bodyPr wrap="square" lIns="36000" tIns="0" rIns="180000" bIns="0" rtlCol="0" anchor="ctr">
            <a:no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.4 </a:t>
            </a: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Georgia" panose="02040502050405020303" pitchFamily="18" charset="0"/>
                <a:cs typeface="Times New Roman" panose="02020603050405020304" pitchFamily="18" charset="0"/>
              </a:rPr>
              <a:t>Utökat anhörigstöd</a:t>
            </a:r>
          </a:p>
        </p:txBody>
      </p:sp>
      <p:sp>
        <p:nvSpPr>
          <p:cNvPr id="44" name="Rectangle: Rounded Corners 43" descr="Ej uppstartad">
            <a:extLst>
              <a:ext uri="{FF2B5EF4-FFF2-40B4-BE49-F238E27FC236}">
                <a16:creationId xmlns:a16="http://schemas.microsoft.com/office/drawing/2014/main" id="{AAD75C70-A98A-4A23-868F-54ADF51FA2D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8221724" y="4294913"/>
            <a:ext cx="3600000" cy="626515"/>
          </a:xfrm>
          <a:prstGeom prst="roundRect">
            <a:avLst>
              <a:gd name="adj" fmla="val 27560"/>
            </a:avLst>
          </a:prstGeom>
          <a:solidFill>
            <a:schemeClr val="bg1"/>
          </a:solidFill>
          <a:ln w="19050" cmpd="sng">
            <a:solidFill>
              <a:srgbClr val="B5E4FB"/>
            </a:solidFill>
          </a:ln>
        </p:spPr>
        <p:txBody>
          <a:bodyPr wrap="square" lIns="36000" tIns="0" rIns="18000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.5 </a:t>
            </a: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Georgia" panose="02040502050405020303" pitchFamily="18" charset="0"/>
                <a:cs typeface="Times New Roman" panose="02020603050405020304" pitchFamily="18" charset="0"/>
              </a:rPr>
              <a:t>Ändamålsenliga insatser för äldre med psykiatriska problem</a:t>
            </a:r>
            <a:endParaRPr kumimoji="0" lang="sv-S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Rectangle: Rounded Corners 40" descr="Ej uppstartad">
            <a:extLst>
              <a:ext uri="{FF2B5EF4-FFF2-40B4-BE49-F238E27FC236}">
                <a16:creationId xmlns:a16="http://schemas.microsoft.com/office/drawing/2014/main" id="{7DAD97A8-0795-4D23-84D1-EFC73E93925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8221724" y="4960650"/>
            <a:ext cx="3600000" cy="626515"/>
          </a:xfrm>
          <a:prstGeom prst="roundRect">
            <a:avLst>
              <a:gd name="adj" fmla="val 27560"/>
            </a:avLst>
          </a:prstGeom>
          <a:solidFill>
            <a:schemeClr val="bg1"/>
          </a:solidFill>
          <a:ln w="19050" cmpd="sng">
            <a:solidFill>
              <a:srgbClr val="B5E4FB"/>
            </a:solidFill>
          </a:ln>
        </p:spPr>
        <p:txBody>
          <a:bodyPr wrap="square" lIns="36000" tIns="0" rIns="18000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.6 Migration och Psykisk hälsa</a:t>
            </a:r>
          </a:p>
        </p:txBody>
      </p:sp>
    </p:spTree>
    <p:extLst>
      <p:ext uri="{BB962C8B-B14F-4D97-AF65-F5344CB8AC3E}">
        <p14:creationId xmlns:p14="http://schemas.microsoft.com/office/powerpoint/2010/main" val="39962576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FBA37701-A3B9-4C13-BD92-E3813F3AA9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99353" y="986589"/>
            <a:ext cx="11367531" cy="5086219"/>
          </a:xfrm>
          <a:prstGeom prst="rect">
            <a:avLst/>
          </a:prstGeom>
          <a:solidFill>
            <a:srgbClr val="E6F3F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930B39-222D-47B6-8321-8BCCD56FAD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959" y="231516"/>
            <a:ext cx="11337925" cy="714375"/>
          </a:xfrm>
        </p:spPr>
        <p:txBody>
          <a:bodyPr/>
          <a:lstStyle/>
          <a:p>
            <a:r>
              <a:rPr lang="sv-SE" dirty="0"/>
              <a:t>Principer för arbetet i delarenan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5F41D373-AA18-45C9-9A16-0B3A9C62D6C0}"/>
              </a:ext>
            </a:extLst>
          </p:cNvPr>
          <p:cNvSpPr/>
          <p:nvPr/>
        </p:nvSpPr>
        <p:spPr>
          <a:xfrm>
            <a:off x="508450" y="1910749"/>
            <a:ext cx="281283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Aft>
                <a:spcPts val="306"/>
              </a:spcAft>
              <a:defRPr/>
            </a:pPr>
            <a:r>
              <a:rPr lang="sv-SE" dirty="0">
                <a:solidFill>
                  <a:prstClr val="black"/>
                </a:solidFill>
              </a:rPr>
              <a:t>1. Vi talar öppet och delar allt, </a:t>
            </a:r>
            <a:r>
              <a:rPr lang="sv-SE" i="1" dirty="0">
                <a:solidFill>
                  <a:prstClr val="black"/>
                </a:solidFill>
              </a:rPr>
              <a:t>men</a:t>
            </a:r>
            <a:r>
              <a:rPr lang="sv-SE" dirty="0">
                <a:solidFill>
                  <a:prstClr val="black"/>
                </a:solidFill>
              </a:rPr>
              <a:t> utnyttjar</a:t>
            </a:r>
            <a:r>
              <a:rPr lang="sv-SE" i="1" dirty="0">
                <a:solidFill>
                  <a:prstClr val="black"/>
                </a:solidFill>
              </a:rPr>
              <a:t> </a:t>
            </a:r>
            <a:r>
              <a:rPr lang="sv-SE" dirty="0">
                <a:solidFill>
                  <a:prstClr val="black"/>
                </a:solidFill>
              </a:rPr>
              <a:t>inte informationen vi får 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FB62090-1387-4A9C-9FA0-2992BC38D039}"/>
              </a:ext>
            </a:extLst>
          </p:cNvPr>
          <p:cNvSpPr/>
          <p:nvPr/>
        </p:nvSpPr>
        <p:spPr>
          <a:xfrm>
            <a:off x="3761502" y="4982585"/>
            <a:ext cx="271203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Aft>
                <a:spcPts val="306"/>
              </a:spcAft>
              <a:defRPr/>
            </a:pPr>
            <a:r>
              <a:rPr lang="sv-SE" dirty="0">
                <a:solidFill>
                  <a:prstClr val="black"/>
                </a:solidFill>
              </a:rPr>
              <a:t>2. Vi sprider och berättar gärna om resultaten, </a:t>
            </a:r>
            <a:r>
              <a:rPr lang="sv-SE" i="1" dirty="0">
                <a:solidFill>
                  <a:prstClr val="black"/>
                </a:solidFill>
              </a:rPr>
              <a:t>men</a:t>
            </a:r>
            <a:r>
              <a:rPr lang="sv-SE" dirty="0">
                <a:solidFill>
                  <a:prstClr val="black"/>
                </a:solidFill>
              </a:rPr>
              <a:t> citerar inte enskilda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B425ABE0-4F8D-48BF-BBA5-06A9723265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8414175" y="2129604"/>
            <a:ext cx="1793642" cy="1793642"/>
            <a:chOff x="3093039" y="2012401"/>
            <a:chExt cx="1793642" cy="1793642"/>
          </a:xfrm>
          <a:solidFill>
            <a:srgbClr val="0B88C7"/>
          </a:solidFill>
        </p:grpSpPr>
        <p:pic>
          <p:nvPicPr>
            <p:cNvPr id="55" name="Graphic 54">
              <a:extLst>
                <a:ext uri="{FF2B5EF4-FFF2-40B4-BE49-F238E27FC236}">
                  <a16:creationId xmlns:a16="http://schemas.microsoft.com/office/drawing/2014/main" id="{3BEC966F-1075-4BD7-8DEA-69B629F9BBC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093039" y="2012401"/>
              <a:ext cx="1793642" cy="1793642"/>
            </a:xfrm>
            <a:prstGeom prst="rect">
              <a:avLst/>
            </a:prstGeom>
          </p:spPr>
        </p:pic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C539E3A1-47DA-4A68-BC01-9DB245BAE0E0}"/>
                </a:ext>
              </a:extLst>
            </p:cNvPr>
            <p:cNvSpPr/>
            <p:nvPr/>
          </p:nvSpPr>
          <p:spPr>
            <a:xfrm>
              <a:off x="3456460" y="2375822"/>
              <a:ext cx="1066800" cy="10668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56AD26D0-C476-46F4-9876-E62B08D2C523}"/>
                </a:ext>
              </a:extLst>
            </p:cNvPr>
            <p:cNvSpPr/>
            <p:nvPr/>
          </p:nvSpPr>
          <p:spPr>
            <a:xfrm>
              <a:off x="3616237" y="2535599"/>
              <a:ext cx="747246" cy="747246"/>
            </a:xfrm>
            <a:prstGeom prst="ellipse">
              <a:avLst/>
            </a:prstGeom>
            <a:grpFill/>
            <a:ln w="1016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b="1" dirty="0"/>
                <a:t>5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AE2A58F5-B46F-4078-A530-1B7D5CBBEC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7106240" y="2954186"/>
            <a:ext cx="1793642" cy="1793642"/>
            <a:chOff x="3093039" y="2012401"/>
            <a:chExt cx="1793642" cy="1793642"/>
          </a:xfrm>
          <a:solidFill>
            <a:srgbClr val="0B88C7"/>
          </a:solidFill>
        </p:grpSpPr>
        <p:pic>
          <p:nvPicPr>
            <p:cNvPr id="43" name="Graphic 42">
              <a:extLst>
                <a:ext uri="{FF2B5EF4-FFF2-40B4-BE49-F238E27FC236}">
                  <a16:creationId xmlns:a16="http://schemas.microsoft.com/office/drawing/2014/main" id="{ED8534E0-1A5A-439B-A9FC-9EEDF08E94C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093039" y="2012401"/>
              <a:ext cx="1793642" cy="1793642"/>
            </a:xfrm>
            <a:prstGeom prst="rect">
              <a:avLst/>
            </a:prstGeom>
          </p:spPr>
        </p:pic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452060BF-0312-4300-A744-96DBFB850D67}"/>
                </a:ext>
              </a:extLst>
            </p:cNvPr>
            <p:cNvSpPr/>
            <p:nvPr/>
          </p:nvSpPr>
          <p:spPr>
            <a:xfrm>
              <a:off x="3456460" y="2375822"/>
              <a:ext cx="1066800" cy="10668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030AF865-8FEF-4C41-9548-91710276F489}"/>
                </a:ext>
              </a:extLst>
            </p:cNvPr>
            <p:cNvSpPr/>
            <p:nvPr/>
          </p:nvSpPr>
          <p:spPr>
            <a:xfrm>
              <a:off x="3616237" y="2535599"/>
              <a:ext cx="747246" cy="747246"/>
            </a:xfrm>
            <a:prstGeom prst="ellipse">
              <a:avLst/>
            </a:prstGeom>
            <a:grpFill/>
            <a:ln w="1016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b="1" dirty="0"/>
                <a:t>4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FF01BAC-708D-4545-ADFE-F3CD850715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696059" y="2299879"/>
            <a:ext cx="1793642" cy="1793642"/>
            <a:chOff x="3093039" y="2012401"/>
            <a:chExt cx="1793642" cy="1793642"/>
          </a:xfrm>
          <a:solidFill>
            <a:srgbClr val="0B88C7"/>
          </a:solidFill>
        </p:grpSpPr>
        <p:pic>
          <p:nvPicPr>
            <p:cNvPr id="39" name="Graphic 38">
              <a:extLst>
                <a:ext uri="{FF2B5EF4-FFF2-40B4-BE49-F238E27FC236}">
                  <a16:creationId xmlns:a16="http://schemas.microsoft.com/office/drawing/2014/main" id="{68BCC7C1-ADBC-4DAA-BE8F-25D6EB77014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093039" y="2012401"/>
              <a:ext cx="1793642" cy="1793642"/>
            </a:xfrm>
            <a:prstGeom prst="rect">
              <a:avLst/>
            </a:prstGeom>
          </p:spPr>
        </p:pic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3A1DEA75-0007-40EE-9424-D56D249B4B9E}"/>
                </a:ext>
              </a:extLst>
            </p:cNvPr>
            <p:cNvSpPr/>
            <p:nvPr/>
          </p:nvSpPr>
          <p:spPr>
            <a:xfrm>
              <a:off x="3456460" y="2375822"/>
              <a:ext cx="1066800" cy="10668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>
                <a:solidFill>
                  <a:srgbClr val="0070C0"/>
                </a:solidFill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2E4317CB-F507-4450-A706-AFDA1AD4BD55}"/>
                </a:ext>
              </a:extLst>
            </p:cNvPr>
            <p:cNvSpPr/>
            <p:nvPr/>
          </p:nvSpPr>
          <p:spPr>
            <a:xfrm>
              <a:off x="3616237" y="2535599"/>
              <a:ext cx="747246" cy="747246"/>
            </a:xfrm>
            <a:prstGeom prst="ellipse">
              <a:avLst/>
            </a:prstGeom>
            <a:grpFill/>
            <a:ln w="1016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b="1" dirty="0">
                  <a:solidFill>
                    <a:schemeClr val="bg1"/>
                  </a:solidFill>
                </a:rPr>
                <a:t>3</a:t>
              </a:r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A4378B6E-4384-4779-8CEB-11039F36F420}"/>
              </a:ext>
            </a:extLst>
          </p:cNvPr>
          <p:cNvSpPr/>
          <p:nvPr/>
        </p:nvSpPr>
        <p:spPr>
          <a:xfrm>
            <a:off x="5073873" y="1224451"/>
            <a:ext cx="343805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Aft>
                <a:spcPts val="306"/>
              </a:spcAft>
              <a:defRPr/>
            </a:pPr>
            <a:r>
              <a:rPr lang="sv-SE" dirty="0">
                <a:solidFill>
                  <a:prstClr val="black"/>
                </a:solidFill>
              </a:rPr>
              <a:t>3. Vi kan vara oeniga om vad </a:t>
            </a:r>
            <a:br>
              <a:rPr lang="sv-SE" dirty="0">
                <a:solidFill>
                  <a:prstClr val="black"/>
                </a:solidFill>
              </a:rPr>
            </a:br>
            <a:r>
              <a:rPr lang="sv-SE" dirty="0">
                <a:solidFill>
                  <a:prstClr val="black"/>
                </a:solidFill>
              </a:rPr>
              <a:t>som är den bästa vägen – ett problem har ofta flera lösningar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031DAF8-7D51-4203-86BF-9962129FDE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285878" y="2954186"/>
            <a:ext cx="1793642" cy="1793642"/>
            <a:chOff x="3093039" y="2012401"/>
            <a:chExt cx="1793642" cy="1793642"/>
          </a:xfrm>
          <a:solidFill>
            <a:srgbClr val="0B88C7"/>
          </a:solidFill>
        </p:grpSpPr>
        <p:pic>
          <p:nvPicPr>
            <p:cNvPr id="35" name="Graphic 34">
              <a:extLst>
                <a:ext uri="{FF2B5EF4-FFF2-40B4-BE49-F238E27FC236}">
                  <a16:creationId xmlns:a16="http://schemas.microsoft.com/office/drawing/2014/main" id="{848FA07D-8086-4335-8D3D-E6827BB262E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093039" y="2012401"/>
              <a:ext cx="1793642" cy="1793642"/>
            </a:xfrm>
            <a:prstGeom prst="rect">
              <a:avLst/>
            </a:prstGeom>
          </p:spPr>
        </p:pic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6ADE0B8F-1EBF-4F42-A686-77189F6DDCF3}"/>
                </a:ext>
              </a:extLst>
            </p:cNvPr>
            <p:cNvSpPr/>
            <p:nvPr/>
          </p:nvSpPr>
          <p:spPr>
            <a:xfrm>
              <a:off x="3456460" y="2375822"/>
              <a:ext cx="1066800" cy="10668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dirty="0">
                <a:solidFill>
                  <a:srgbClr val="0B88C7"/>
                </a:solidFill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CAC55C8F-21B0-439D-8E62-79E79A9574DA}"/>
                </a:ext>
              </a:extLst>
            </p:cNvPr>
            <p:cNvSpPr/>
            <p:nvPr/>
          </p:nvSpPr>
          <p:spPr>
            <a:xfrm>
              <a:off x="3616237" y="2535599"/>
              <a:ext cx="747246" cy="747246"/>
            </a:xfrm>
            <a:prstGeom prst="ellipse">
              <a:avLst/>
            </a:prstGeom>
            <a:grpFill/>
            <a:ln w="1016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b="1" dirty="0">
                  <a:solidFill>
                    <a:schemeClr val="bg1"/>
                  </a:solidFill>
                </a:rPr>
                <a:t>2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487FCFC-6FD1-4064-B5D9-996C66826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2875697" y="2299879"/>
            <a:ext cx="1793642" cy="1793642"/>
            <a:chOff x="3093039" y="2012401"/>
            <a:chExt cx="1793642" cy="1793642"/>
          </a:xfrm>
          <a:solidFill>
            <a:srgbClr val="0B88C7"/>
          </a:solidFill>
        </p:grpSpPr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1A30BED0-B78A-4DF1-A340-D13EBCB95C0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093039" y="2012401"/>
              <a:ext cx="1793642" cy="1793642"/>
            </a:xfrm>
            <a:prstGeom prst="rect">
              <a:avLst/>
            </a:prstGeom>
            <a:effectLst/>
          </p:spPr>
        </p:pic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39D75268-68CD-4753-A628-B67365B79585}"/>
                </a:ext>
              </a:extLst>
            </p:cNvPr>
            <p:cNvSpPr/>
            <p:nvPr/>
          </p:nvSpPr>
          <p:spPr>
            <a:xfrm>
              <a:off x="3456460" y="2375822"/>
              <a:ext cx="1066800" cy="1066800"/>
            </a:xfrm>
            <a:prstGeom prst="ellipse">
              <a:avLst/>
            </a:prstGeom>
            <a:grpFill/>
            <a:ln>
              <a:solidFill>
                <a:srgbClr val="0B88C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dirty="0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37A4A2C0-565C-499D-8BE3-2ABDB8220C05}"/>
                </a:ext>
              </a:extLst>
            </p:cNvPr>
            <p:cNvSpPr/>
            <p:nvPr/>
          </p:nvSpPr>
          <p:spPr>
            <a:xfrm>
              <a:off x="3616237" y="2535599"/>
              <a:ext cx="747246" cy="747246"/>
            </a:xfrm>
            <a:prstGeom prst="ellipse">
              <a:avLst/>
            </a:prstGeom>
            <a:grpFill/>
            <a:ln w="1016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b="1" dirty="0"/>
                <a:t>1</a:t>
              </a:r>
            </a:p>
          </p:txBody>
        </p:sp>
      </p:grpSp>
      <p:sp>
        <p:nvSpPr>
          <p:cNvPr id="58" name="Rectangle 57">
            <a:extLst>
              <a:ext uri="{FF2B5EF4-FFF2-40B4-BE49-F238E27FC236}">
                <a16:creationId xmlns:a16="http://schemas.microsoft.com/office/drawing/2014/main" id="{2DD4F20B-D6B9-4613-B13F-7DC9F5A953EE}"/>
              </a:ext>
            </a:extLst>
          </p:cNvPr>
          <p:cNvSpPr/>
          <p:nvPr/>
        </p:nvSpPr>
        <p:spPr>
          <a:xfrm>
            <a:off x="8332531" y="4201806"/>
            <a:ext cx="282538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Aft>
                <a:spcPts val="306"/>
              </a:spcAft>
              <a:defRPr/>
            </a:pPr>
            <a:r>
              <a:rPr lang="sv-SE" dirty="0">
                <a:solidFill>
                  <a:prstClr val="black"/>
                </a:solidFill>
              </a:rPr>
              <a:t>4. Vi sprider bara lösningar som vi – utan kostnad – kan dela med varandra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935EEA21-98A8-4424-8676-2C74628023BB}"/>
              </a:ext>
            </a:extLst>
          </p:cNvPr>
          <p:cNvSpPr/>
          <p:nvPr/>
        </p:nvSpPr>
        <p:spPr>
          <a:xfrm>
            <a:off x="9208595" y="1125729"/>
            <a:ext cx="261410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Aft>
                <a:spcPts val="306"/>
              </a:spcAft>
              <a:defRPr/>
            </a:pPr>
            <a:r>
              <a:rPr lang="sv-SE" dirty="0">
                <a:solidFill>
                  <a:prstClr val="black"/>
                </a:solidFill>
              </a:rPr>
              <a:t>5. Vårt gemensamma arbete bygger på förtroende och tillit</a:t>
            </a:r>
          </a:p>
        </p:txBody>
      </p:sp>
    </p:spTree>
    <p:extLst>
      <p:ext uri="{BB962C8B-B14F-4D97-AF65-F5344CB8AC3E}">
        <p14:creationId xmlns:p14="http://schemas.microsoft.com/office/powerpoint/2010/main" val="26753170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C22149FA-64A7-4336-97C8-68E043193E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662152" y="5141834"/>
            <a:ext cx="10541876" cy="0"/>
          </a:xfrm>
          <a:prstGeom prst="straightConnector1">
            <a:avLst/>
          </a:prstGeom>
          <a:ln w="76200">
            <a:solidFill>
              <a:schemeClr val="accent2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" name="Arrow: Chevron 11">
            <a:extLst>
              <a:ext uri="{FF2B5EF4-FFF2-40B4-BE49-F238E27FC236}">
                <a16:creationId xmlns:a16="http://schemas.microsoft.com/office/drawing/2014/main" id="{F684DFE9-59BE-40CA-B092-E243B04423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964341" y="3039387"/>
            <a:ext cx="1146284" cy="590778"/>
          </a:xfrm>
          <a:prstGeom prst="chevron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75690A4-E075-4569-A4B7-F037569B32F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01287" y="159573"/>
            <a:ext cx="11337925" cy="714375"/>
          </a:xfrm>
        </p:spPr>
        <p:txBody>
          <a:bodyPr/>
          <a:lstStyle/>
          <a:p>
            <a:r>
              <a:rPr lang="sv-SE" dirty="0"/>
              <a:t>Tanken med delarenorna är att arbetsgruppen ringar in initiativ som kan bidra till en positiv utveckling på området – Och sedan genomföra dem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00E8B6AA-79C5-4E61-81F3-749DE6EC9DBA}"/>
              </a:ext>
            </a:extLst>
          </p:cNvPr>
          <p:cNvSpPr txBox="1"/>
          <p:nvPr/>
        </p:nvSpPr>
        <p:spPr>
          <a:xfrm>
            <a:off x="363985" y="818137"/>
            <a:ext cx="137249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cess - helhet</a:t>
            </a:r>
          </a:p>
        </p:txBody>
      </p:sp>
      <p:grpSp>
        <p:nvGrpSpPr>
          <p:cNvPr id="2" name="Grupp 1" descr="Processen delas in i två delar, planeringsfasen samt genomförandefasen.  Processen ser ut som följande: ">
            <a:extLst>
              <a:ext uri="{FF2B5EF4-FFF2-40B4-BE49-F238E27FC236}">
                <a16:creationId xmlns:a16="http://schemas.microsoft.com/office/drawing/2014/main" id="{82176889-8631-43D4-97BF-91E0AE669CE3}"/>
              </a:ext>
            </a:extLst>
          </p:cNvPr>
          <p:cNvGrpSpPr/>
          <p:nvPr/>
        </p:nvGrpSpPr>
        <p:grpSpPr>
          <a:xfrm>
            <a:off x="440184" y="1154128"/>
            <a:ext cx="11163237" cy="511766"/>
            <a:chOff x="440184" y="1154128"/>
            <a:chExt cx="11163237" cy="511766"/>
          </a:xfrm>
        </p:grpSpPr>
        <p:sp>
          <p:nvSpPr>
            <p:cNvPr id="48" name="Google Shape;371;p46">
              <a:extLst>
                <a:ext uri="{FF2B5EF4-FFF2-40B4-BE49-F238E27FC236}">
                  <a16:creationId xmlns:a16="http://schemas.microsoft.com/office/drawing/2014/main" id="{375C91EE-C9B6-43CB-800A-D886D1F141CA}"/>
                </a:ext>
              </a:extLst>
            </p:cNvPr>
            <p:cNvSpPr/>
            <p:nvPr/>
          </p:nvSpPr>
          <p:spPr>
            <a:xfrm>
              <a:off x="440184" y="1179245"/>
              <a:ext cx="6913557" cy="486649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txBody>
            <a:bodyPr spcFirstLastPara="1" wrap="square" lIns="36000" tIns="0" rIns="180000" bIns="0" anchor="ctr" anchorCtr="0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sv" sz="1467" b="1" i="0" u="none" strike="noStrike" kern="0" cap="none" spc="0" normalizeH="0" baseline="0" noProof="0" dirty="0">
                  <a:ln>
                    <a:noFill/>
                  </a:ln>
                  <a:solidFill>
                    <a:srgbClr val="F2F2F2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rPr>
                <a:t>Planeringsfas</a:t>
              </a:r>
              <a:endParaRPr kumimoji="0" sz="1467" b="1" i="0" u="none" strike="noStrike" kern="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1" name="Google Shape;372;p46">
              <a:extLst>
                <a:ext uri="{FF2B5EF4-FFF2-40B4-BE49-F238E27FC236}">
                  <a16:creationId xmlns:a16="http://schemas.microsoft.com/office/drawing/2014/main" id="{D86E58E2-A750-4FD7-B9BE-9370D833A0AB}"/>
                </a:ext>
              </a:extLst>
            </p:cNvPr>
            <p:cNvSpPr/>
            <p:nvPr/>
          </p:nvSpPr>
          <p:spPr>
            <a:xfrm>
              <a:off x="8159075" y="1172749"/>
              <a:ext cx="3444346" cy="486800"/>
            </a:xfrm>
            <a:prstGeom prst="rect">
              <a:avLst/>
            </a:prstGeom>
            <a:solidFill>
              <a:srgbClr val="0070C0">
                <a:alpha val="58823"/>
              </a:srgbClr>
            </a:solidFill>
            <a:ln>
              <a:noFill/>
            </a:ln>
          </p:spPr>
          <p:txBody>
            <a:bodyPr spcFirstLastPara="1" wrap="square" lIns="36000" tIns="0" rIns="180000" bIns="0" anchor="ctr" anchorCtr="0">
              <a:noAutofit/>
            </a:bodyPr>
            <a:lstStyle/>
            <a:p>
              <a:pPr marL="0" marR="0" lvl="1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Tx/>
                <a:buNone/>
                <a:tabLst/>
                <a:defRPr/>
              </a:pPr>
              <a:r>
                <a:rPr kumimoji="0" lang="sv" sz="1467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rPr>
                <a:t>Genomförandefas</a:t>
              </a:r>
              <a:endParaRPr kumimoji="0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grpSp>
          <p:nvGrpSpPr>
            <p:cNvPr id="52" name="Google Shape;373;p46">
              <a:extLst>
                <a:ext uri="{FF2B5EF4-FFF2-40B4-BE49-F238E27FC236}">
                  <a16:creationId xmlns:a16="http://schemas.microsoft.com/office/drawing/2014/main" id="{3BCC5116-9F62-4216-9F83-6903226A78F5}"/>
                </a:ext>
              </a:extLst>
            </p:cNvPr>
            <p:cNvGrpSpPr/>
            <p:nvPr/>
          </p:nvGrpSpPr>
          <p:grpSpPr>
            <a:xfrm>
              <a:off x="7535622" y="1154128"/>
              <a:ext cx="486000" cy="486651"/>
              <a:chOff x="4763351" y="2165295"/>
              <a:chExt cx="648692" cy="626516"/>
            </a:xfrm>
          </p:grpSpPr>
          <p:pic>
            <p:nvPicPr>
              <p:cNvPr id="53" name="Google Shape;374;p46" descr="Handshake">
                <a:extLst>
                  <a:ext uri="{FF2B5EF4-FFF2-40B4-BE49-F238E27FC236}">
                    <a16:creationId xmlns:a16="http://schemas.microsoft.com/office/drawing/2014/main" id="{0A1484B5-45E5-4532-B11A-65D8777F74E3}"/>
                  </a:ext>
                </a:extLst>
              </p:cNvPr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4871833" y="2280126"/>
                <a:ext cx="431728" cy="396855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54" name="Google Shape;375;p46">
                <a:extLst>
                  <a:ext uri="{FF2B5EF4-FFF2-40B4-BE49-F238E27FC236}">
                    <a16:creationId xmlns:a16="http://schemas.microsoft.com/office/drawing/2014/main" id="{7EAD7F2E-40FE-427D-9DE2-83C4CD0A67D6}"/>
                  </a:ext>
                </a:extLst>
              </p:cNvPr>
              <p:cNvSpPr/>
              <p:nvPr/>
            </p:nvSpPr>
            <p:spPr>
              <a:xfrm>
                <a:off x="4763351" y="2165295"/>
                <a:ext cx="648692" cy="626516"/>
              </a:xfrm>
              <a:prstGeom prst="ellipse">
                <a:avLst/>
              </a:prstGeom>
              <a:noFill/>
              <a:ln w="50800" cap="flat" cmpd="sng">
                <a:solidFill>
                  <a:schemeClr val="accent3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33" tIns="45700" rIns="91433" bIns="45700" anchor="ctr" anchorCtr="0">
                <a:no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7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7ED1BE8A-D9C1-4465-8ED3-0ECEE9D12A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7703514" y="2958426"/>
            <a:ext cx="3500514" cy="0"/>
          </a:xfrm>
          <a:prstGeom prst="straightConnector1">
            <a:avLst/>
          </a:prstGeom>
          <a:ln w="76200">
            <a:solidFill>
              <a:schemeClr val="accent3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CCF9FB68-5A67-4877-B832-21B3300CE5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7838588" y="3667650"/>
            <a:ext cx="3365440" cy="0"/>
          </a:xfrm>
          <a:prstGeom prst="straightConnector1">
            <a:avLst/>
          </a:prstGeom>
          <a:ln w="76200">
            <a:solidFill>
              <a:schemeClr val="accent2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42655A52-A660-409B-B781-43B7C50E2F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662152" y="3313038"/>
            <a:ext cx="10541876" cy="0"/>
          </a:xfrm>
          <a:prstGeom prst="straightConnector1">
            <a:avLst/>
          </a:prstGeom>
          <a:ln w="76200">
            <a:solidFill>
              <a:schemeClr val="accent2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77" name="TextBox 76">
            <a:extLst>
              <a:ext uri="{FF2B5EF4-FFF2-40B4-BE49-F238E27FC236}">
                <a16:creationId xmlns:a16="http://schemas.microsoft.com/office/drawing/2014/main" id="{B126CB23-A5BA-43F4-8F5C-DC1527BC2B5B}"/>
              </a:ext>
            </a:extLst>
          </p:cNvPr>
          <p:cNvSpPr txBox="1"/>
          <p:nvPr/>
        </p:nvSpPr>
        <p:spPr>
          <a:xfrm>
            <a:off x="628544" y="2256820"/>
            <a:ext cx="1079142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ering: </a:t>
            </a:r>
            <a:b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riktning och </a:t>
            </a:r>
            <a:b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gränsningar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16DC68C3-56A1-4439-8ADD-2BE1A41F76BB}"/>
              </a:ext>
            </a:extLst>
          </p:cNvPr>
          <p:cNvSpPr txBox="1"/>
          <p:nvPr/>
        </p:nvSpPr>
        <p:spPr>
          <a:xfrm>
            <a:off x="1137538" y="1910098"/>
            <a:ext cx="157126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ormationsspridning </a:t>
            </a:r>
            <a:b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m delarena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9081797-2F03-4AEE-90C7-E8F1118A90C7}"/>
              </a:ext>
            </a:extLst>
          </p:cNvPr>
          <p:cNvSpPr txBox="1"/>
          <p:nvPr/>
        </p:nvSpPr>
        <p:spPr>
          <a:xfrm>
            <a:off x="2141881" y="2457978"/>
            <a:ext cx="936475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era </a:t>
            </a:r>
            <a:b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betsgrupp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16EB2E58-D876-4128-8D90-3143F8EA9874}"/>
              </a:ext>
            </a:extLst>
          </p:cNvPr>
          <p:cNvSpPr txBox="1"/>
          <p:nvPr/>
        </p:nvSpPr>
        <p:spPr>
          <a:xfrm>
            <a:off x="2855947" y="2057240"/>
            <a:ext cx="873957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örbered</a:t>
            </a:r>
            <a:b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ötesserie</a:t>
            </a:r>
          </a:p>
        </p:txBody>
      </p:sp>
      <p:sp>
        <p:nvSpPr>
          <p:cNvPr id="8" name="Arrow: Pentagon 7">
            <a:extLst>
              <a:ext uri="{FF2B5EF4-FFF2-40B4-BE49-F238E27FC236}">
                <a16:creationId xmlns:a16="http://schemas.microsoft.com/office/drawing/2014/main" id="{B21F983D-A4E3-4F57-B47B-56974D926793}"/>
              </a:ext>
            </a:extLst>
          </p:cNvPr>
          <p:cNvSpPr/>
          <p:nvPr/>
        </p:nvSpPr>
        <p:spPr>
          <a:xfrm>
            <a:off x="3878408" y="3163612"/>
            <a:ext cx="3286617" cy="346835"/>
          </a:xfrm>
          <a:prstGeom prst="homePlate">
            <a:avLst/>
          </a:prstGeom>
          <a:solidFill>
            <a:schemeClr val="bg1">
              <a:alpha val="39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ötesserie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3ED75FB7-4DC2-45D8-ADAE-82ED834A3322}"/>
              </a:ext>
            </a:extLst>
          </p:cNvPr>
          <p:cNvSpPr txBox="1"/>
          <p:nvPr/>
        </p:nvSpPr>
        <p:spPr>
          <a:xfrm>
            <a:off x="451292" y="3922106"/>
            <a:ext cx="15071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cess - mötesserie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44738DB5-8F6F-47B0-BEE1-21795C19A1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7376487" y="2151716"/>
            <a:ext cx="78258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ndslag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AF307DF1-E67D-49DD-BDFE-AE4C8B1F3FCB}"/>
              </a:ext>
            </a:extLst>
          </p:cNvPr>
          <p:cNvSpPr txBox="1"/>
          <p:nvPr/>
        </p:nvSpPr>
        <p:spPr>
          <a:xfrm>
            <a:off x="1788584" y="4117734"/>
            <a:ext cx="1223996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tskick av inbjudan och möteslänk</a:t>
            </a:r>
          </a:p>
        </p:txBody>
      </p:sp>
      <p:sp>
        <p:nvSpPr>
          <p:cNvPr id="110" name="Arrow: Pentagon 109">
            <a:extLst>
              <a:ext uri="{FF2B5EF4-FFF2-40B4-BE49-F238E27FC236}">
                <a16:creationId xmlns:a16="http://schemas.microsoft.com/office/drawing/2014/main" id="{F495B2A9-0E77-4CE0-99E7-E3787059778A}"/>
              </a:ext>
            </a:extLst>
          </p:cNvPr>
          <p:cNvSpPr/>
          <p:nvPr/>
        </p:nvSpPr>
        <p:spPr>
          <a:xfrm>
            <a:off x="2647437" y="4857351"/>
            <a:ext cx="1584608" cy="590778"/>
          </a:xfrm>
          <a:prstGeom prst="homePlat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rkstad 1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78ED4980-838A-4CD9-8E06-E40B9D8CF2BA}"/>
              </a:ext>
            </a:extLst>
          </p:cNvPr>
          <p:cNvSpPr txBox="1"/>
          <p:nvPr/>
        </p:nvSpPr>
        <p:spPr>
          <a:xfrm>
            <a:off x="3484453" y="4044921"/>
            <a:ext cx="144566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tskick mötes-</a:t>
            </a:r>
            <a:b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teckningar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42478937-A607-424F-9EA9-C8B995AB7CF7}"/>
              </a:ext>
            </a:extLst>
          </p:cNvPr>
          <p:cNvSpPr txBox="1"/>
          <p:nvPr/>
        </p:nvSpPr>
        <p:spPr>
          <a:xfrm>
            <a:off x="4091818" y="4478903"/>
            <a:ext cx="144566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mmanställa förslag initiativ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F21D8B69-6F87-4FF1-8D73-02FB196A72FF}"/>
              </a:ext>
            </a:extLst>
          </p:cNvPr>
          <p:cNvSpPr txBox="1"/>
          <p:nvPr/>
        </p:nvSpPr>
        <p:spPr>
          <a:xfrm>
            <a:off x="4577499" y="3980326"/>
            <a:ext cx="158460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tskick av inbjudan och möteslänk</a:t>
            </a:r>
          </a:p>
        </p:txBody>
      </p:sp>
      <p:sp>
        <p:nvSpPr>
          <p:cNvPr id="105" name="Arrow: Chevron 104">
            <a:extLst>
              <a:ext uri="{FF2B5EF4-FFF2-40B4-BE49-F238E27FC236}">
                <a16:creationId xmlns:a16="http://schemas.microsoft.com/office/drawing/2014/main" id="{D191E8E2-F42F-4B83-B7DE-06F6D62874B6}"/>
              </a:ext>
            </a:extLst>
          </p:cNvPr>
          <p:cNvSpPr/>
          <p:nvPr/>
        </p:nvSpPr>
        <p:spPr>
          <a:xfrm>
            <a:off x="5362440" y="4855694"/>
            <a:ext cx="1584608" cy="590778"/>
          </a:xfrm>
          <a:prstGeom prst="chevron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rkstad 2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25A0530C-F306-4901-B664-B645C9CCFA60}"/>
              </a:ext>
            </a:extLst>
          </p:cNvPr>
          <p:cNvSpPr txBox="1"/>
          <p:nvPr/>
        </p:nvSpPr>
        <p:spPr>
          <a:xfrm>
            <a:off x="6216280" y="4044921"/>
            <a:ext cx="144566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tskick mötes-</a:t>
            </a:r>
            <a:b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teckningar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3A8A5328-5A3F-491D-838E-4E2107CB3942}"/>
              </a:ext>
            </a:extLst>
          </p:cNvPr>
          <p:cNvSpPr txBox="1"/>
          <p:nvPr/>
        </p:nvSpPr>
        <p:spPr>
          <a:xfrm>
            <a:off x="6823645" y="4478903"/>
            <a:ext cx="144566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örsta utkast handslaget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DA261FBF-6E80-4E3E-A317-798F1FCF7ECF}"/>
              </a:ext>
            </a:extLst>
          </p:cNvPr>
          <p:cNvSpPr txBox="1"/>
          <p:nvPr/>
        </p:nvSpPr>
        <p:spPr>
          <a:xfrm>
            <a:off x="7288306" y="3938286"/>
            <a:ext cx="177638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tskick av inbjudan, möteslänk och handslag</a:t>
            </a:r>
          </a:p>
        </p:txBody>
      </p:sp>
      <p:sp>
        <p:nvSpPr>
          <p:cNvPr id="109" name="Arrow: Chevron 108">
            <a:extLst>
              <a:ext uri="{FF2B5EF4-FFF2-40B4-BE49-F238E27FC236}">
                <a16:creationId xmlns:a16="http://schemas.microsoft.com/office/drawing/2014/main" id="{4637AD52-1B46-40BF-AD13-F86B2BF2C224}"/>
              </a:ext>
            </a:extLst>
          </p:cNvPr>
          <p:cNvSpPr/>
          <p:nvPr/>
        </p:nvSpPr>
        <p:spPr>
          <a:xfrm>
            <a:off x="8077442" y="4855694"/>
            <a:ext cx="1584608" cy="590778"/>
          </a:xfrm>
          <a:prstGeom prst="chevron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rkstad 3</a:t>
            </a: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D0CAE0DB-7D31-4079-9570-445ADAEFBD24}"/>
              </a:ext>
            </a:extLst>
          </p:cNvPr>
          <p:cNvSpPr txBox="1"/>
          <p:nvPr/>
        </p:nvSpPr>
        <p:spPr>
          <a:xfrm>
            <a:off x="8873511" y="4002901"/>
            <a:ext cx="144566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tskick mötes-</a:t>
            </a:r>
            <a:b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teckningar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91CA1369-D065-431C-8DE2-6111F143CE2E}"/>
              </a:ext>
            </a:extLst>
          </p:cNvPr>
          <p:cNvSpPr txBox="1"/>
          <p:nvPr/>
        </p:nvSpPr>
        <p:spPr>
          <a:xfrm>
            <a:off x="9849442" y="4002901"/>
            <a:ext cx="1445665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tskick </a:t>
            </a:r>
            <a:b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ppdaterat handslag</a:t>
            </a:r>
          </a:p>
        </p:txBody>
      </p:sp>
      <p:grpSp>
        <p:nvGrpSpPr>
          <p:cNvPr id="3" name="Grupp 2" descr="Handslaget påbörjar genomförandefasen.">
            <a:extLst>
              <a:ext uri="{FF2B5EF4-FFF2-40B4-BE49-F238E27FC236}">
                <a16:creationId xmlns:a16="http://schemas.microsoft.com/office/drawing/2014/main" id="{9EE3ADCB-B244-4397-8772-DEDA4FA621B4}"/>
              </a:ext>
            </a:extLst>
          </p:cNvPr>
          <p:cNvGrpSpPr/>
          <p:nvPr/>
        </p:nvGrpSpPr>
        <p:grpSpPr>
          <a:xfrm>
            <a:off x="7384151" y="2911818"/>
            <a:ext cx="774923" cy="818892"/>
            <a:chOff x="7384151" y="2911818"/>
            <a:chExt cx="774923" cy="818892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368A7C2B-0F14-4474-B970-995C701D9B0F}"/>
                </a:ext>
              </a:extLst>
            </p:cNvPr>
            <p:cNvSpPr/>
            <p:nvPr/>
          </p:nvSpPr>
          <p:spPr>
            <a:xfrm>
              <a:off x="7384151" y="2911818"/>
              <a:ext cx="774923" cy="818892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56" name="Google Shape;373;p46" descr="Handslaget påbörjarr själva genomföfrandefasen">
              <a:extLst>
                <a:ext uri="{FF2B5EF4-FFF2-40B4-BE49-F238E27FC236}">
                  <a16:creationId xmlns:a16="http://schemas.microsoft.com/office/drawing/2014/main" id="{6E368608-4251-4B41-A0F0-3B8CE83DAB5F}"/>
                </a:ext>
              </a:extLst>
            </p:cNvPr>
            <p:cNvGrpSpPr/>
            <p:nvPr/>
          </p:nvGrpSpPr>
          <p:grpSpPr>
            <a:xfrm>
              <a:off x="7528612" y="3069509"/>
              <a:ext cx="486000" cy="486651"/>
              <a:chOff x="4763351" y="2165295"/>
              <a:chExt cx="648692" cy="626516"/>
            </a:xfrm>
          </p:grpSpPr>
          <p:pic>
            <p:nvPicPr>
              <p:cNvPr id="57" name="Google Shape;374;p46" descr="Handshake">
                <a:extLst>
                  <a:ext uri="{FF2B5EF4-FFF2-40B4-BE49-F238E27FC236}">
                    <a16:creationId xmlns:a16="http://schemas.microsoft.com/office/drawing/2014/main" id="{C9C043C4-99D9-48FD-8E08-E35CFBFE17AE}"/>
                  </a:ext>
                </a:extLst>
              </p:cNvPr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4871833" y="2280126"/>
                <a:ext cx="431728" cy="396855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58" name="Google Shape;375;p46">
                <a:extLst>
                  <a:ext uri="{FF2B5EF4-FFF2-40B4-BE49-F238E27FC236}">
                    <a16:creationId xmlns:a16="http://schemas.microsoft.com/office/drawing/2014/main" id="{C51E4D1F-BE57-49E1-B6A2-9C11245E69EB}"/>
                  </a:ext>
                </a:extLst>
              </p:cNvPr>
              <p:cNvSpPr/>
              <p:nvPr/>
            </p:nvSpPr>
            <p:spPr>
              <a:xfrm>
                <a:off x="4763351" y="2165295"/>
                <a:ext cx="648692" cy="626516"/>
              </a:xfrm>
              <a:prstGeom prst="ellipse">
                <a:avLst/>
              </a:prstGeom>
              <a:noFill/>
              <a:ln w="50800" cap="flat" cmpd="sng">
                <a:solidFill>
                  <a:schemeClr val="accent3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33" tIns="45700" rIns="91433" bIns="45700" anchor="ctr" anchorCtr="0">
                <a:no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7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88" name="Rectangle 87">
            <a:extLst>
              <a:ext uri="{FF2B5EF4-FFF2-40B4-BE49-F238E27FC236}">
                <a16:creationId xmlns:a16="http://schemas.microsoft.com/office/drawing/2014/main" id="{13BDA4E0-2264-4C03-BA5C-B880B39ED5F2}"/>
              </a:ext>
            </a:extLst>
          </p:cNvPr>
          <p:cNvSpPr/>
          <p:nvPr/>
        </p:nvSpPr>
        <p:spPr>
          <a:xfrm>
            <a:off x="8283632" y="1641509"/>
            <a:ext cx="2103757" cy="759377"/>
          </a:xfrm>
          <a:prstGeom prst="rect">
            <a:avLst/>
          </a:prstGeom>
          <a:solidFill>
            <a:schemeClr val="bg1">
              <a:alpha val="39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betet fokuseras </a:t>
            </a:r>
            <a:b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ing de initiativ som planerats för i handslagsdokumente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F0C3946C-C7BB-476B-8F27-287F0FA5FB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60737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0C3946C-C7BB-476B-8F27-287F0FA5FB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Arrow: Pentagon 10">
            <a:extLst>
              <a:ext uri="{FF2B5EF4-FFF2-40B4-BE49-F238E27FC236}">
                <a16:creationId xmlns:a16="http://schemas.microsoft.com/office/drawing/2014/main" id="{D70E502F-802A-48CD-B9C6-06471C3307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878409" y="3039388"/>
            <a:ext cx="1146284" cy="590778"/>
          </a:xfrm>
          <a:prstGeom prst="homePlat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Arrow: Chevron 12">
            <a:extLst>
              <a:ext uri="{FF2B5EF4-FFF2-40B4-BE49-F238E27FC236}">
                <a16:creationId xmlns:a16="http://schemas.microsoft.com/office/drawing/2014/main" id="{5604C133-047B-4AC9-A86D-A65E035ACA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018742" y="3039387"/>
            <a:ext cx="1146284" cy="590778"/>
          </a:xfrm>
          <a:prstGeom prst="chevron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8E7F9EA-82C3-4AAB-BB86-6B5C64FB5C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47724" y="5577025"/>
            <a:ext cx="3312000" cy="66846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6931618-51DC-4C62-856C-A47E2CDA0F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105274" y="5577024"/>
            <a:ext cx="3312000" cy="66846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4F988A6-AAD2-44A8-80CC-ABCCA174BB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362824" y="5577023"/>
            <a:ext cx="3312000" cy="66846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5013A40-FFA4-410D-90EF-9E08835CF300}"/>
              </a:ext>
            </a:extLst>
          </p:cNvPr>
          <p:cNvSpPr/>
          <p:nvPr/>
        </p:nvSpPr>
        <p:spPr>
          <a:xfrm>
            <a:off x="847724" y="5577022"/>
            <a:ext cx="9820274" cy="292152"/>
          </a:xfrm>
          <a:prstGeom prst="rect">
            <a:avLst/>
          </a:prstGeom>
          <a:solidFill>
            <a:schemeClr val="bg1">
              <a:alpha val="53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Övergripande faser i arbetsprocessen under mötesserien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F8189F9-1A3E-4375-85CB-AAC0074BBD05}"/>
              </a:ext>
            </a:extLst>
          </p:cNvPr>
          <p:cNvSpPr txBox="1"/>
          <p:nvPr/>
        </p:nvSpPr>
        <p:spPr>
          <a:xfrm>
            <a:off x="840898" y="5904947"/>
            <a:ext cx="32316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blemformulering och målbil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0D68AA1-6DE1-4621-9E42-094A7DF6BDF4}"/>
              </a:ext>
            </a:extLst>
          </p:cNvPr>
          <p:cNvSpPr txBox="1"/>
          <p:nvPr/>
        </p:nvSpPr>
        <p:spPr>
          <a:xfrm>
            <a:off x="4122066" y="5904947"/>
            <a:ext cx="32316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ösningsförslag och möjliga initiativ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667D380-6A25-47D0-954F-841CF4EE3083}"/>
              </a:ext>
            </a:extLst>
          </p:cNvPr>
          <p:cNvSpPr txBox="1"/>
          <p:nvPr/>
        </p:nvSpPr>
        <p:spPr>
          <a:xfrm>
            <a:off x="7370533" y="5904947"/>
            <a:ext cx="32316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betsplan och handslag</a:t>
            </a:r>
          </a:p>
        </p:txBody>
      </p:sp>
      <p:sp>
        <p:nvSpPr>
          <p:cNvPr id="47" name="Google Shape;322;p46">
            <a:extLst>
              <a:ext uri="{FF2B5EF4-FFF2-40B4-BE49-F238E27FC236}">
                <a16:creationId xmlns:a16="http://schemas.microsoft.com/office/drawing/2014/main" id="{84E53F0E-4B27-4E85-9BC0-863D3C6DC8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63985" y="1113073"/>
            <a:ext cx="11336784" cy="606153"/>
          </a:xfrm>
          <a:prstGeom prst="rect">
            <a:avLst/>
          </a:prstGeom>
          <a:noFill/>
          <a:ln w="12700" cap="flat" cmpd="sng">
            <a:solidFill>
              <a:srgbClr val="595959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7E7EECFE-8B5A-47CF-81F3-BD0E2FE590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703514" y="2455839"/>
            <a:ext cx="135074" cy="135074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60626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92B372DA-74FF-403B-9A7F-A240076BE5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endCxn id="60" idx="4"/>
          </p:cNvCxnSpPr>
          <p:nvPr/>
        </p:nvCxnSpPr>
        <p:spPr>
          <a:xfrm flipH="1" flipV="1">
            <a:off x="7771051" y="2590913"/>
            <a:ext cx="2813" cy="319662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6" name="Oval 65">
            <a:extLst>
              <a:ext uri="{FF2B5EF4-FFF2-40B4-BE49-F238E27FC236}">
                <a16:creationId xmlns:a16="http://schemas.microsoft.com/office/drawing/2014/main" id="{94077291-001E-481B-842A-E09B8D9B28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558326" y="2958426"/>
            <a:ext cx="135074" cy="135074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60626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C196DAE3-0B23-4F88-B042-36157B1773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2610119" y="3039387"/>
            <a:ext cx="0" cy="273447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72" name="Oval 71">
            <a:extLst>
              <a:ext uri="{FF2B5EF4-FFF2-40B4-BE49-F238E27FC236}">
                <a16:creationId xmlns:a16="http://schemas.microsoft.com/office/drawing/2014/main" id="{16CD637D-199E-438C-89FB-A958041026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215926" y="2537676"/>
            <a:ext cx="135074" cy="135074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60626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9038E942-485A-4638-9237-1174F902B9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endCxn id="72" idx="4"/>
          </p:cNvCxnSpPr>
          <p:nvPr/>
        </p:nvCxnSpPr>
        <p:spPr>
          <a:xfrm flipV="1">
            <a:off x="3280650" y="2672750"/>
            <a:ext cx="2813" cy="648516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74" name="Oval 73">
            <a:extLst>
              <a:ext uri="{FF2B5EF4-FFF2-40B4-BE49-F238E27FC236}">
                <a16:creationId xmlns:a16="http://schemas.microsoft.com/office/drawing/2014/main" id="{A921DE1C-604C-4010-B66D-667169B278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00573" y="2865735"/>
            <a:ext cx="135074" cy="135074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60626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D6FA11DA-1A12-4964-BF5B-4779B97874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H="1" flipV="1">
            <a:off x="1168110" y="3001602"/>
            <a:ext cx="2813" cy="319662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78" name="Oval 77">
            <a:extLst>
              <a:ext uri="{FF2B5EF4-FFF2-40B4-BE49-F238E27FC236}">
                <a16:creationId xmlns:a16="http://schemas.microsoft.com/office/drawing/2014/main" id="{978D61B5-F069-4306-B51D-B6B18D0803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847121" y="2329705"/>
            <a:ext cx="135074" cy="135074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60626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80CBBC36-0D04-4699-8272-9D29C8A14D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endCxn id="78" idx="4"/>
          </p:cNvCxnSpPr>
          <p:nvPr/>
        </p:nvCxnSpPr>
        <p:spPr>
          <a:xfrm flipH="1" flipV="1">
            <a:off x="1914658" y="2464779"/>
            <a:ext cx="2814" cy="856486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19D54B3B-D6A3-4786-BDA8-26D42828DF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9032888" y="2488127"/>
            <a:ext cx="0" cy="508881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073D8848-5AFF-4FFA-B3CF-0B10BC755B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9338661" y="2488127"/>
            <a:ext cx="0" cy="824708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80265221-2967-4B86-8C47-3F456D9865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H="1" flipV="1">
            <a:off x="9644433" y="2488128"/>
            <a:ext cx="19297" cy="1179522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9" name="Oval 98">
            <a:extLst>
              <a:ext uri="{FF2B5EF4-FFF2-40B4-BE49-F238E27FC236}">
                <a16:creationId xmlns:a16="http://schemas.microsoft.com/office/drawing/2014/main" id="{9CF8F028-A790-42BC-A572-ED585A7062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950638" y="2402602"/>
            <a:ext cx="135074" cy="135074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60626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015C6F60-40BF-48D6-8D33-E01EC5EADB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267974" y="2402602"/>
            <a:ext cx="135074" cy="135074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60626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B15A2482-BCBB-43E1-8726-7A63724FC1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573746" y="2402602"/>
            <a:ext cx="135074" cy="135074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60626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D29F8A05-4633-4586-822C-88EF1E5E00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178676" y="3888839"/>
            <a:ext cx="11750565" cy="0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2" name="Oval 111">
            <a:extLst>
              <a:ext uri="{FF2B5EF4-FFF2-40B4-BE49-F238E27FC236}">
                <a16:creationId xmlns:a16="http://schemas.microsoft.com/office/drawing/2014/main" id="{D1E8BBC1-1BA4-48CA-AA30-B8EAB57891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333045" y="4720620"/>
            <a:ext cx="135074" cy="135074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60626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228FEDE7-0E6D-4652-9416-EFF3BA431E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2400582" y="4842170"/>
            <a:ext cx="0" cy="273447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8" name="Oval 117">
            <a:extLst>
              <a:ext uri="{FF2B5EF4-FFF2-40B4-BE49-F238E27FC236}">
                <a16:creationId xmlns:a16="http://schemas.microsoft.com/office/drawing/2014/main" id="{4454A47C-7DEB-49C0-B6E9-7551DFF240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151638" y="4499903"/>
            <a:ext cx="135074" cy="135074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60626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A7386DE5-0B03-4A80-89D7-C2BD413CC6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110" idx="3"/>
            <a:endCxn id="118" idx="4"/>
          </p:cNvCxnSpPr>
          <p:nvPr/>
        </p:nvCxnSpPr>
        <p:spPr>
          <a:xfrm flipH="1" flipV="1">
            <a:off x="4219175" y="4634977"/>
            <a:ext cx="12870" cy="517763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2" name="Oval 121">
            <a:extLst>
              <a:ext uri="{FF2B5EF4-FFF2-40B4-BE49-F238E27FC236}">
                <a16:creationId xmlns:a16="http://schemas.microsoft.com/office/drawing/2014/main" id="{4DB0A5CD-DCA3-477C-B296-B561FBCFCC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570848" y="4573474"/>
            <a:ext cx="135074" cy="135074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60626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F8457D50-5521-4C59-930E-A7206E97FB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endCxn id="122" idx="4"/>
          </p:cNvCxnSpPr>
          <p:nvPr/>
        </p:nvCxnSpPr>
        <p:spPr>
          <a:xfrm flipV="1">
            <a:off x="9638385" y="4708548"/>
            <a:ext cx="0" cy="40707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9" name="Oval 128">
            <a:extLst>
              <a:ext uri="{FF2B5EF4-FFF2-40B4-BE49-F238E27FC236}">
                <a16:creationId xmlns:a16="http://schemas.microsoft.com/office/drawing/2014/main" id="{27FB4F35-922E-4A34-B303-4BFB0FFA77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769832" y="4857245"/>
            <a:ext cx="135074" cy="135074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60626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D93ACFC7-12DB-4024-B9F3-6C00D837C4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4837369" y="5013850"/>
            <a:ext cx="0" cy="10177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D43AFB18-B8B0-45C4-8A9F-CC96C7ED43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endCxn id="139" idx="4"/>
          </p:cNvCxnSpPr>
          <p:nvPr/>
        </p:nvCxnSpPr>
        <p:spPr>
          <a:xfrm flipH="1" flipV="1">
            <a:off x="5350275" y="4508852"/>
            <a:ext cx="180" cy="606766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37" name="Oval 136">
            <a:extLst>
              <a:ext uri="{FF2B5EF4-FFF2-40B4-BE49-F238E27FC236}">
                <a16:creationId xmlns:a16="http://schemas.microsoft.com/office/drawing/2014/main" id="{9B306B7A-7A2F-484A-BE9E-80E7DFA904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530202" y="4573474"/>
            <a:ext cx="135074" cy="135074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60626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2FEBE6D1-E6E0-42D7-AD98-C4451F5AF6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endCxn id="137" idx="4"/>
          </p:cNvCxnSpPr>
          <p:nvPr/>
        </p:nvCxnSpPr>
        <p:spPr>
          <a:xfrm flipV="1">
            <a:off x="10597739" y="4708548"/>
            <a:ext cx="0" cy="40707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39" name="Oval 138">
            <a:extLst>
              <a:ext uri="{FF2B5EF4-FFF2-40B4-BE49-F238E27FC236}">
                <a16:creationId xmlns:a16="http://schemas.microsoft.com/office/drawing/2014/main" id="{EC370789-8B72-47A3-BAEC-A99F1DAE74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282738" y="4373778"/>
            <a:ext cx="135074" cy="135074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60626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6" name="Oval 155">
            <a:extLst>
              <a:ext uri="{FF2B5EF4-FFF2-40B4-BE49-F238E27FC236}">
                <a16:creationId xmlns:a16="http://schemas.microsoft.com/office/drawing/2014/main" id="{AE0F58A7-A988-4331-9D15-CA11DD1A7A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883465" y="4499903"/>
            <a:ext cx="135074" cy="135074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60626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AAF72709-4A3A-44B3-928E-6DC688174E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endCxn id="156" idx="4"/>
          </p:cNvCxnSpPr>
          <p:nvPr/>
        </p:nvCxnSpPr>
        <p:spPr>
          <a:xfrm flipH="1" flipV="1">
            <a:off x="6951002" y="4634977"/>
            <a:ext cx="12870" cy="517763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58" name="Oval 157">
            <a:extLst>
              <a:ext uri="{FF2B5EF4-FFF2-40B4-BE49-F238E27FC236}">
                <a16:creationId xmlns:a16="http://schemas.microsoft.com/office/drawing/2014/main" id="{1210943F-0E77-4E61-8D3E-46525FB0EB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501659" y="4857245"/>
            <a:ext cx="135074" cy="135074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60626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B1F403D2-B8A4-441E-92D3-3F7351E892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7569196" y="5013850"/>
            <a:ext cx="0" cy="10177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id="{EE22C941-FE8F-47D6-815A-AD42342721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endCxn id="161" idx="4"/>
          </p:cNvCxnSpPr>
          <p:nvPr/>
        </p:nvCxnSpPr>
        <p:spPr>
          <a:xfrm flipH="1" flipV="1">
            <a:off x="8134652" y="4508852"/>
            <a:ext cx="180" cy="606766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61" name="Oval 160">
            <a:extLst>
              <a:ext uri="{FF2B5EF4-FFF2-40B4-BE49-F238E27FC236}">
                <a16:creationId xmlns:a16="http://schemas.microsoft.com/office/drawing/2014/main" id="{06B77EB5-895C-430C-A99F-0589128020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067115" y="4373778"/>
            <a:ext cx="135074" cy="135074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60626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49129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380;p26">
            <a:extLst>
              <a:ext uri="{FF2B5EF4-FFF2-40B4-BE49-F238E27FC236}">
                <a16:creationId xmlns:a16="http://schemas.microsoft.com/office/drawing/2014/main" id="{DF09F73A-66A8-4F0A-BAA6-A77AE6B0E9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72642" y="5409546"/>
            <a:ext cx="9404800" cy="116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" name="Google Shape;384;p26">
            <a:extLst>
              <a:ext uri="{FF2B5EF4-FFF2-40B4-BE49-F238E27FC236}">
                <a16:creationId xmlns:a16="http://schemas.microsoft.com/office/drawing/2014/main" id="{4DAF4FB7-A426-44D1-B187-F413B376C2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004639" y="2065905"/>
            <a:ext cx="1900000" cy="847200"/>
          </a:xfrm>
          <a:prstGeom prst="chevron">
            <a:avLst>
              <a:gd name="adj" fmla="val 50000"/>
            </a:avLst>
          </a:prstGeom>
          <a:solidFill>
            <a:schemeClr val="lt1"/>
          </a:solidFill>
          <a:ln w="38100" cap="flat" cmpd="sng">
            <a:solidFill>
              <a:srgbClr val="0070C0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FDE8D1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" name="Google Shape;388;p26">
            <a:extLst>
              <a:ext uri="{FF2B5EF4-FFF2-40B4-BE49-F238E27FC236}">
                <a16:creationId xmlns:a16="http://schemas.microsoft.com/office/drawing/2014/main" id="{A96BCF1C-F31C-48E5-AB12-7180EFC443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149779" y="2057349"/>
            <a:ext cx="1931200" cy="847200"/>
          </a:xfrm>
          <a:prstGeom prst="chevron">
            <a:avLst>
              <a:gd name="adj" fmla="val 50000"/>
            </a:avLst>
          </a:prstGeom>
          <a:solidFill>
            <a:schemeClr val="accent3"/>
          </a:solidFill>
          <a:ln w="508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FDE8D1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" name="Google Shape;392;p26">
            <a:extLst>
              <a:ext uri="{FF2B5EF4-FFF2-40B4-BE49-F238E27FC236}">
                <a16:creationId xmlns:a16="http://schemas.microsoft.com/office/drawing/2014/main" id="{DDBEA428-724F-484C-B4F2-BF9C77ED57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085840" y="2972553"/>
            <a:ext cx="1625200" cy="2254000"/>
          </a:xfrm>
          <a:prstGeom prst="rect">
            <a:avLst/>
          </a:prstGeom>
          <a:solidFill>
            <a:srgbClr val="FFF1C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F39325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" name="Google Shape;391;p26">
            <a:extLst>
              <a:ext uri="{FF2B5EF4-FFF2-40B4-BE49-F238E27FC236}">
                <a16:creationId xmlns:a16="http://schemas.microsoft.com/office/drawing/2014/main" id="{48CC53C1-5ED6-435D-AE0E-9791766DEA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419959" y="2972553"/>
            <a:ext cx="1575600" cy="2254000"/>
          </a:xfrm>
          <a:prstGeom prst="rect">
            <a:avLst/>
          </a:prstGeom>
          <a:solidFill>
            <a:srgbClr val="FFF1C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F39325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" name="Google Shape;389;p26">
            <a:extLst>
              <a:ext uri="{FF2B5EF4-FFF2-40B4-BE49-F238E27FC236}">
                <a16:creationId xmlns:a16="http://schemas.microsoft.com/office/drawing/2014/main" id="{5879B48A-4D5E-496B-ADBC-7309536AFC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57316" y="2972553"/>
            <a:ext cx="1561200" cy="2254000"/>
          </a:xfrm>
          <a:prstGeom prst="rect">
            <a:avLst/>
          </a:prstGeom>
          <a:solidFill>
            <a:srgbClr val="FFF1C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F39325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" name="Google Shape;387;p26">
            <a:extLst>
              <a:ext uri="{FF2B5EF4-FFF2-40B4-BE49-F238E27FC236}">
                <a16:creationId xmlns:a16="http://schemas.microsoft.com/office/drawing/2014/main" id="{2FA99BD9-3845-4CF4-BDF2-E11CD1FC21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479741" y="2057349"/>
            <a:ext cx="1931200" cy="847200"/>
          </a:xfrm>
          <a:prstGeom prst="chevron">
            <a:avLst>
              <a:gd name="adj" fmla="val 50000"/>
            </a:avLst>
          </a:prstGeom>
          <a:solidFill>
            <a:schemeClr val="accent3"/>
          </a:solidFill>
          <a:ln w="508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FDE8D1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" name="Google Shape;386;p26">
            <a:extLst>
              <a:ext uri="{FF2B5EF4-FFF2-40B4-BE49-F238E27FC236}">
                <a16:creationId xmlns:a16="http://schemas.microsoft.com/office/drawing/2014/main" id="{DA8CF585-F8EA-42CC-AB5B-399B486FBE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09705" y="2057349"/>
            <a:ext cx="1931200" cy="847200"/>
          </a:xfrm>
          <a:prstGeom prst="chevron">
            <a:avLst>
              <a:gd name="adj" fmla="val 50000"/>
            </a:avLst>
          </a:prstGeom>
          <a:solidFill>
            <a:schemeClr val="accent3"/>
          </a:solidFill>
          <a:ln w="508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FDE8D1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0E0C0F82-0921-428E-BC18-2805DBE160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sz="3200" dirty="0"/>
              <a:t>Övergripande arbetsprocess för en delarena</a:t>
            </a:r>
            <a:endParaRPr lang="sv-SE" dirty="0"/>
          </a:p>
        </p:txBody>
      </p:sp>
      <p:sp>
        <p:nvSpPr>
          <p:cNvPr id="41" name="Google Shape;390;p26">
            <a:extLst>
              <a:ext uri="{FF2B5EF4-FFF2-40B4-BE49-F238E27FC236}">
                <a16:creationId xmlns:a16="http://schemas.microsoft.com/office/drawing/2014/main" id="{105133A5-DCB4-459F-A869-76E71B75A7DD}"/>
              </a:ext>
            </a:extLst>
          </p:cNvPr>
          <p:cNvSpPr/>
          <p:nvPr/>
        </p:nvSpPr>
        <p:spPr>
          <a:xfrm>
            <a:off x="179473" y="1760705"/>
            <a:ext cx="952800" cy="145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1200" b="1" i="0" u="none" strike="noStrike" kern="0" cap="none" spc="0" normalizeH="0" baseline="0" noProof="0" dirty="0">
                <a:ln>
                  <a:noFill/>
                </a:ln>
                <a:solidFill>
                  <a:srgbClr val="844A07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rbetsfas</a:t>
            </a:r>
            <a:endParaRPr kumimoji="0" sz="146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35" name="Google Shape;393;p26">
            <a:extLst>
              <a:ext uri="{FF2B5EF4-FFF2-40B4-BE49-F238E27FC236}">
                <a16:creationId xmlns:a16="http://schemas.microsoft.com/office/drawing/2014/main" id="{CEB9E185-6CC3-4383-96EC-634AE3480348}"/>
              </a:ext>
            </a:extLst>
          </p:cNvPr>
          <p:cNvSpPr/>
          <p:nvPr/>
        </p:nvSpPr>
        <p:spPr>
          <a:xfrm>
            <a:off x="907306" y="2131085"/>
            <a:ext cx="1784800" cy="64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Verkstad 1. </a:t>
            </a:r>
            <a:endParaRPr kumimoji="0" sz="146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Gemensam problemformulering</a:t>
            </a:r>
            <a:endParaRPr kumimoji="0" sz="146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pic>
        <p:nvPicPr>
          <p:cNvPr id="32" name="Bildobjekt 31" descr="Initialt är det en smärre grupp som påbörjar verkstad 1.">
            <a:extLst>
              <a:ext uri="{FF2B5EF4-FFF2-40B4-BE49-F238E27FC236}">
                <a16:creationId xmlns:a16="http://schemas.microsoft.com/office/drawing/2014/main" id="{857C5FAC-2E37-42B4-9C54-F5DE185D87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6216" y="3575168"/>
            <a:ext cx="1363400" cy="524385"/>
          </a:xfrm>
          <a:prstGeom prst="rect">
            <a:avLst/>
          </a:prstGeom>
        </p:spPr>
      </p:pic>
      <p:sp>
        <p:nvSpPr>
          <p:cNvPr id="36" name="Google Shape;394;p26">
            <a:extLst>
              <a:ext uri="{FF2B5EF4-FFF2-40B4-BE49-F238E27FC236}">
                <a16:creationId xmlns:a16="http://schemas.microsoft.com/office/drawing/2014/main" id="{770BEF7E-1845-4598-9022-7A1D849541C1}"/>
              </a:ext>
            </a:extLst>
          </p:cNvPr>
          <p:cNvSpPr/>
          <p:nvPr/>
        </p:nvSpPr>
        <p:spPr>
          <a:xfrm>
            <a:off x="2659625" y="2131085"/>
            <a:ext cx="1593289" cy="8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Verkstad 2. </a:t>
            </a:r>
            <a:endParaRPr kumimoji="0" sz="146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Generera och prioritera mellan olika initiativ</a:t>
            </a:r>
            <a:endParaRPr kumimoji="0" sz="146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pic>
        <p:nvPicPr>
          <p:cNvPr id="33" name="Bildobjekt 32" descr="Under arbetsfasen 2 kan man räkna med en större arbetsgrupp. ">
            <a:extLst>
              <a:ext uri="{FF2B5EF4-FFF2-40B4-BE49-F238E27FC236}">
                <a16:creationId xmlns:a16="http://schemas.microsoft.com/office/drawing/2014/main" id="{2BEB7939-3E86-4895-8792-8B4C88ED57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21133" y="3273061"/>
            <a:ext cx="1373251" cy="1491478"/>
          </a:xfrm>
          <a:prstGeom prst="rect">
            <a:avLst/>
          </a:prstGeom>
        </p:spPr>
      </p:pic>
      <p:sp>
        <p:nvSpPr>
          <p:cNvPr id="37" name="Google Shape;395;p26">
            <a:extLst>
              <a:ext uri="{FF2B5EF4-FFF2-40B4-BE49-F238E27FC236}">
                <a16:creationId xmlns:a16="http://schemas.microsoft.com/office/drawing/2014/main" id="{FB66F74F-43B1-4419-B749-227226639D25}"/>
              </a:ext>
            </a:extLst>
          </p:cNvPr>
          <p:cNvSpPr/>
          <p:nvPr/>
        </p:nvSpPr>
        <p:spPr>
          <a:xfrm>
            <a:off x="4338344" y="2131085"/>
            <a:ext cx="1784800" cy="64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Verkstad 3. </a:t>
            </a:r>
            <a:endParaRPr kumimoji="0" sz="146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Utforma arbetsplan </a:t>
            </a:r>
            <a:br>
              <a:rPr kumimoji="0" lang="e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</a:br>
            <a:r>
              <a:rPr kumimoji="0" lang="e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och handslag</a:t>
            </a:r>
            <a:endParaRPr kumimoji="0" sz="146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pic>
        <p:nvPicPr>
          <p:cNvPr id="34" name="Bildobjekt 33" descr="Under verkstad 3 kan man räkna med ännu fler människor som är med och arbetar med att utforma arbetsplanen. ">
            <a:extLst>
              <a:ext uri="{FF2B5EF4-FFF2-40B4-BE49-F238E27FC236}">
                <a16:creationId xmlns:a16="http://schemas.microsoft.com/office/drawing/2014/main" id="{67F41E13-3C6A-4921-A0F6-6247ED8473F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39150" y="3127831"/>
            <a:ext cx="1287081" cy="1789572"/>
          </a:xfrm>
          <a:prstGeom prst="rect">
            <a:avLst/>
          </a:prstGeom>
        </p:spPr>
      </p:pic>
      <p:sp>
        <p:nvSpPr>
          <p:cNvPr id="43" name="Google Shape;399;p26">
            <a:extLst>
              <a:ext uri="{FF2B5EF4-FFF2-40B4-BE49-F238E27FC236}">
                <a16:creationId xmlns:a16="http://schemas.microsoft.com/office/drawing/2014/main" id="{9FA21993-872C-45B1-90D5-EB0C3093B242}"/>
              </a:ext>
            </a:extLst>
          </p:cNvPr>
          <p:cNvSpPr/>
          <p:nvPr/>
        </p:nvSpPr>
        <p:spPr>
          <a:xfrm>
            <a:off x="7399817" y="2172949"/>
            <a:ext cx="1236000" cy="616000"/>
          </a:xfrm>
          <a:prstGeom prst="homePlate">
            <a:avLst>
              <a:gd name="adj" fmla="val 22222"/>
            </a:avLst>
          </a:prstGeom>
          <a:noFill/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Genomföra handslag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" name="Google Shape;436;p26">
            <a:extLst>
              <a:ext uri="{FF2B5EF4-FFF2-40B4-BE49-F238E27FC236}">
                <a16:creationId xmlns:a16="http://schemas.microsoft.com/office/drawing/2014/main" id="{F9F2A051-7DAB-415B-B75A-3E041808F2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056903" y="3046805"/>
            <a:ext cx="1561200" cy="2254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F39325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" name="Google Shape;466;p26">
            <a:extLst>
              <a:ext uri="{FF2B5EF4-FFF2-40B4-BE49-F238E27FC236}">
                <a16:creationId xmlns:a16="http://schemas.microsoft.com/office/drawing/2014/main" id="{01875672-D143-4C89-9E26-03EEBB99DE6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9571233" y="2065904"/>
            <a:ext cx="2178800" cy="3160800"/>
          </a:xfrm>
          <a:prstGeom prst="wedgeRectCallout">
            <a:avLst>
              <a:gd name="adj1" fmla="val -86220"/>
              <a:gd name="adj2" fmla="val 6560"/>
            </a:avLst>
          </a:prstGeom>
          <a:solidFill>
            <a:schemeClr val="lt1">
              <a:alpha val="69800"/>
            </a:schemeClr>
          </a:solidFill>
          <a:ln w="38100" cap="flat" cmpd="sng">
            <a:solidFill>
              <a:schemeClr val="accent3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“Handslaget” är </a:t>
            </a:r>
            <a:r>
              <a:rPr kumimoji="0" lang="en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delarenans arbetsplan</a:t>
            </a:r>
            <a:r>
              <a:rPr kumimoji="0" lang="e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, och beskriver vilka initiativ man kommer att arbeta med. 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Dessa kan vara stora och omfattande, men även mindre och mer avgränsande initiativ förväntas ingå, utifrån deltagarnas olika förutsättningar.  </a:t>
            </a:r>
            <a:endParaRPr kumimoji="0" sz="146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9" name="Google Shape;467;p26">
            <a:extLst>
              <a:ext uri="{FF2B5EF4-FFF2-40B4-BE49-F238E27FC236}">
                <a16:creationId xmlns:a16="http://schemas.microsoft.com/office/drawing/2014/main" id="{19C13041-8A31-4F78-B7A6-7EAFC2E1F4D0}"/>
              </a:ext>
            </a:extLst>
          </p:cNvPr>
          <p:cNvSpPr/>
          <p:nvPr/>
        </p:nvSpPr>
        <p:spPr>
          <a:xfrm>
            <a:off x="3475220" y="5546348"/>
            <a:ext cx="3961200" cy="27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Identifierade behov som inte kan mötas inom delarenan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73" name="Grupp 72" descr="Identifierade behov som inte kan mötas inom delarenan leder till:">
            <a:extLst>
              <a:ext uri="{FF2B5EF4-FFF2-40B4-BE49-F238E27FC236}">
                <a16:creationId xmlns:a16="http://schemas.microsoft.com/office/drawing/2014/main" id="{04A088D7-D334-4277-ABE7-A32CDA969DC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/>
        </p:nvGrpSpPr>
        <p:grpSpPr>
          <a:xfrm>
            <a:off x="1821709" y="5855342"/>
            <a:ext cx="6966882" cy="383600"/>
            <a:chOff x="1821709" y="5484953"/>
            <a:chExt cx="6966882" cy="383600"/>
          </a:xfrm>
        </p:grpSpPr>
        <p:cxnSp>
          <p:nvCxnSpPr>
            <p:cNvPr id="74" name="Google Shape;469;p26">
              <a:extLst>
                <a:ext uri="{FF2B5EF4-FFF2-40B4-BE49-F238E27FC236}">
                  <a16:creationId xmlns:a16="http://schemas.microsoft.com/office/drawing/2014/main" id="{59DD7E05-674E-460C-90A1-C3442517E446}"/>
                </a:ext>
              </a:extLst>
            </p:cNvPr>
            <p:cNvCxnSpPr/>
            <p:nvPr/>
          </p:nvCxnSpPr>
          <p:spPr>
            <a:xfrm flipH="1">
              <a:off x="1821709" y="5489753"/>
              <a:ext cx="2310400" cy="378800"/>
            </a:xfrm>
            <a:prstGeom prst="bentConnector2">
              <a:avLst/>
            </a:prstGeom>
            <a:noFill/>
            <a:ln w="9525" cap="flat" cmpd="sng">
              <a:solidFill>
                <a:srgbClr val="BFBFBF"/>
              </a:solidFill>
              <a:prstDash val="solid"/>
              <a:miter lim="800000"/>
              <a:headEnd type="none" w="sm" len="sm"/>
              <a:tailEnd type="triangle" w="med" len="med"/>
            </a:ln>
          </p:spPr>
        </p:cxnSp>
        <p:cxnSp>
          <p:nvCxnSpPr>
            <p:cNvPr id="75" name="Google Shape;470;p26">
              <a:extLst>
                <a:ext uri="{FF2B5EF4-FFF2-40B4-BE49-F238E27FC236}">
                  <a16:creationId xmlns:a16="http://schemas.microsoft.com/office/drawing/2014/main" id="{8AA404BD-653B-4FC3-92AD-525F47539135}"/>
                </a:ext>
              </a:extLst>
            </p:cNvPr>
            <p:cNvCxnSpPr/>
            <p:nvPr/>
          </p:nvCxnSpPr>
          <p:spPr>
            <a:xfrm>
              <a:off x="4143897" y="5489753"/>
              <a:ext cx="2322400" cy="378800"/>
            </a:xfrm>
            <a:prstGeom prst="bentConnector2">
              <a:avLst/>
            </a:prstGeom>
            <a:noFill/>
            <a:ln w="9525" cap="flat" cmpd="sng">
              <a:solidFill>
                <a:srgbClr val="BFBFBF"/>
              </a:solidFill>
              <a:prstDash val="solid"/>
              <a:miter lim="800000"/>
              <a:headEnd type="none" w="sm" len="sm"/>
              <a:tailEnd type="triangle" w="med" len="med"/>
            </a:ln>
          </p:spPr>
        </p:cxnSp>
        <p:cxnSp>
          <p:nvCxnSpPr>
            <p:cNvPr id="76" name="Google Shape;471;p26">
              <a:extLst>
                <a:ext uri="{FF2B5EF4-FFF2-40B4-BE49-F238E27FC236}">
                  <a16:creationId xmlns:a16="http://schemas.microsoft.com/office/drawing/2014/main" id="{211FF514-2E15-4C58-823A-CC539F37CB72}"/>
                </a:ext>
              </a:extLst>
            </p:cNvPr>
            <p:cNvCxnSpPr/>
            <p:nvPr/>
          </p:nvCxnSpPr>
          <p:spPr>
            <a:xfrm>
              <a:off x="3306803" y="5489753"/>
              <a:ext cx="837200" cy="378800"/>
            </a:xfrm>
            <a:prstGeom prst="bentConnector2">
              <a:avLst/>
            </a:prstGeom>
            <a:noFill/>
            <a:ln w="9525" cap="flat" cmpd="sng">
              <a:solidFill>
                <a:srgbClr val="BFBFBF"/>
              </a:solidFill>
              <a:prstDash val="solid"/>
              <a:miter lim="800000"/>
              <a:headEnd type="none" w="sm" len="sm"/>
              <a:tailEnd type="triangle" w="med" len="med"/>
            </a:ln>
          </p:spPr>
        </p:cxnSp>
        <p:cxnSp>
          <p:nvCxnSpPr>
            <p:cNvPr id="77" name="Google Shape;475;p26">
              <a:extLst>
                <a:ext uri="{FF2B5EF4-FFF2-40B4-BE49-F238E27FC236}">
                  <a16:creationId xmlns:a16="http://schemas.microsoft.com/office/drawing/2014/main" id="{5DDC4BB6-72E6-4B28-A7E6-6511F5961905}"/>
                </a:ext>
              </a:extLst>
            </p:cNvPr>
            <p:cNvCxnSpPr/>
            <p:nvPr/>
          </p:nvCxnSpPr>
          <p:spPr>
            <a:xfrm>
              <a:off x="4154591" y="5484953"/>
              <a:ext cx="4634000" cy="383600"/>
            </a:xfrm>
            <a:prstGeom prst="bentConnector2">
              <a:avLst/>
            </a:prstGeom>
            <a:noFill/>
            <a:ln w="9525" cap="flat" cmpd="sng">
              <a:solidFill>
                <a:srgbClr val="BFBFBF"/>
              </a:solidFill>
              <a:prstDash val="solid"/>
              <a:miter lim="800000"/>
              <a:headEnd type="none" w="sm" len="sm"/>
              <a:tailEnd type="triangle" w="med" len="med"/>
            </a:ln>
          </p:spPr>
        </p:cxnSp>
      </p:grpSp>
      <p:sp>
        <p:nvSpPr>
          <p:cNvPr id="26" name="Google Shape;381;p26">
            <a:extLst>
              <a:ext uri="{FF2B5EF4-FFF2-40B4-BE49-F238E27FC236}">
                <a16:creationId xmlns:a16="http://schemas.microsoft.com/office/drawing/2014/main" id="{BDF4A5F4-50E0-4623-A39D-58F7A39E50CA}"/>
              </a:ext>
            </a:extLst>
          </p:cNvPr>
          <p:cNvSpPr/>
          <p:nvPr/>
        </p:nvSpPr>
        <p:spPr>
          <a:xfrm>
            <a:off x="838582" y="6273668"/>
            <a:ext cx="2267200" cy="251200"/>
          </a:xfrm>
          <a:prstGeom prst="roundRect">
            <a:avLst>
              <a:gd name="adj" fmla="val 16667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ndra delarenor</a:t>
            </a:r>
            <a:endParaRPr kumimoji="0" sz="1467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7" name="Google Shape;382;p26">
            <a:extLst>
              <a:ext uri="{FF2B5EF4-FFF2-40B4-BE49-F238E27FC236}">
                <a16:creationId xmlns:a16="http://schemas.microsoft.com/office/drawing/2014/main" id="{3AEA25CE-5AB5-4DAA-9F37-8749F512DE1D}"/>
              </a:ext>
            </a:extLst>
          </p:cNvPr>
          <p:cNvSpPr/>
          <p:nvPr/>
        </p:nvSpPr>
        <p:spPr>
          <a:xfrm>
            <a:off x="3160876" y="6273668"/>
            <a:ext cx="2267200" cy="251200"/>
          </a:xfrm>
          <a:prstGeom prst="roundRect">
            <a:avLst>
              <a:gd name="adj" fmla="val 16667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Lokala kraftsamlingar</a:t>
            </a:r>
            <a:endParaRPr kumimoji="0" sz="1467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8" name="Google Shape;383;p26">
            <a:extLst>
              <a:ext uri="{FF2B5EF4-FFF2-40B4-BE49-F238E27FC236}">
                <a16:creationId xmlns:a16="http://schemas.microsoft.com/office/drawing/2014/main" id="{AB8C85C1-1090-4915-8340-98B6514A3B3C}"/>
              </a:ext>
            </a:extLst>
          </p:cNvPr>
          <p:cNvSpPr/>
          <p:nvPr/>
        </p:nvSpPr>
        <p:spPr>
          <a:xfrm>
            <a:off x="5483170" y="6273668"/>
            <a:ext cx="2267200" cy="251200"/>
          </a:xfrm>
          <a:prstGeom prst="roundRect">
            <a:avLst>
              <a:gd name="adj" fmla="val 16667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Nationellt prioriterad fråga</a:t>
            </a:r>
            <a:endParaRPr kumimoji="0" sz="1467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30" name="Google Shape;474;p26">
            <a:extLst>
              <a:ext uri="{FF2B5EF4-FFF2-40B4-BE49-F238E27FC236}">
                <a16:creationId xmlns:a16="http://schemas.microsoft.com/office/drawing/2014/main" id="{E8FED1BC-17CA-4AA2-9921-96647C704250}"/>
              </a:ext>
            </a:extLst>
          </p:cNvPr>
          <p:cNvSpPr/>
          <p:nvPr/>
        </p:nvSpPr>
        <p:spPr>
          <a:xfrm>
            <a:off x="7805464" y="6273668"/>
            <a:ext cx="2267200" cy="251200"/>
          </a:xfrm>
          <a:prstGeom prst="roundRect">
            <a:avLst>
              <a:gd name="adj" fmla="val 16667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”Blå listan”</a:t>
            </a:r>
            <a:endParaRPr kumimoji="0" sz="1467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grpSp>
        <p:nvGrpSpPr>
          <p:cNvPr id="44" name="Google Shape;437;p26">
            <a:extLst>
              <a:ext uri="{FF2B5EF4-FFF2-40B4-BE49-F238E27FC236}">
                <a16:creationId xmlns:a16="http://schemas.microsoft.com/office/drawing/2014/main" id="{C60DF48A-25EB-48D1-BEA3-8523C91D67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7050170" y="3296705"/>
            <a:ext cx="1646037" cy="1565771"/>
            <a:chOff x="9915098" y="2364135"/>
            <a:chExt cx="2243781" cy="2134365"/>
          </a:xfrm>
        </p:grpSpPr>
        <p:pic>
          <p:nvPicPr>
            <p:cNvPr id="45" name="Google Shape;438;p26">
              <a:extLst>
                <a:ext uri="{FF2B5EF4-FFF2-40B4-BE49-F238E27FC236}">
                  <a16:creationId xmlns:a16="http://schemas.microsoft.com/office/drawing/2014/main" id="{4CEFBE5D-8149-4F9E-9756-77255885D8CC}"/>
                </a:ext>
              </a:extLst>
            </p:cNvPr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10360567" y="2879176"/>
              <a:ext cx="1139609" cy="113960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46" name="Google Shape;439;p26" descr="Gears">
              <a:extLst>
                <a:ext uri="{FF2B5EF4-FFF2-40B4-BE49-F238E27FC236}">
                  <a16:creationId xmlns:a16="http://schemas.microsoft.com/office/drawing/2014/main" id="{22E60F69-DDD2-4AF4-81F6-60216D8F754B}"/>
                </a:ext>
              </a:extLst>
            </p:cNvPr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10421272" y="3118302"/>
              <a:ext cx="253048" cy="253048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47" name="Google Shape;440;p26" descr="Lightbulb">
              <a:extLst>
                <a:ext uri="{FF2B5EF4-FFF2-40B4-BE49-F238E27FC236}">
                  <a16:creationId xmlns:a16="http://schemas.microsoft.com/office/drawing/2014/main" id="{79CB5599-89DB-451D-A4CF-5C39BDC77FE2}"/>
                </a:ext>
              </a:extLst>
            </p:cNvPr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10822256" y="3795746"/>
              <a:ext cx="200914" cy="20091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48" name="Google Shape;441;p26" descr="Magnifying glass">
              <a:extLst>
                <a:ext uri="{FF2B5EF4-FFF2-40B4-BE49-F238E27FC236}">
                  <a16:creationId xmlns:a16="http://schemas.microsoft.com/office/drawing/2014/main" id="{61BB933C-F7F8-4CF8-8EC5-5D726E7EF43F}"/>
                </a:ext>
              </a:extLst>
            </p:cNvPr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11174272" y="3081738"/>
              <a:ext cx="253048" cy="253048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9" name="Google Shape;442;p26">
              <a:extLst>
                <a:ext uri="{FF2B5EF4-FFF2-40B4-BE49-F238E27FC236}">
                  <a16:creationId xmlns:a16="http://schemas.microsoft.com/office/drawing/2014/main" id="{5C2E5CC6-A077-4592-96C7-9492BB81B23E}"/>
                </a:ext>
              </a:extLst>
            </p:cNvPr>
            <p:cNvGrpSpPr/>
            <p:nvPr/>
          </p:nvGrpSpPr>
          <p:grpSpPr>
            <a:xfrm>
              <a:off x="10466276" y="2364135"/>
              <a:ext cx="620978" cy="400873"/>
              <a:chOff x="2287881" y="3570202"/>
              <a:chExt cx="1416464" cy="914400"/>
            </a:xfrm>
          </p:grpSpPr>
          <p:pic>
            <p:nvPicPr>
              <p:cNvPr id="71" name="Google Shape;443;p26" descr="Man">
                <a:extLst>
                  <a:ext uri="{FF2B5EF4-FFF2-40B4-BE49-F238E27FC236}">
                    <a16:creationId xmlns:a16="http://schemas.microsoft.com/office/drawing/2014/main" id="{00069CFF-9907-4D8E-843A-49673FDE41E5}"/>
                  </a:ext>
                </a:extLst>
              </p:cNvPr>
              <p:cNvPicPr preferRelativeResize="0"/>
              <p:nvPr/>
            </p:nvPicPr>
            <p:blipFill rotWithShape="1">
              <a:blip r:embed="rId9">
                <a:alphaModFix/>
              </a:blip>
              <a:srcRect/>
              <a:stretch/>
            </p:blipFill>
            <p:spPr>
              <a:xfrm>
                <a:off x="2789945" y="3570202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72" name="Google Shape;444;p26" descr="Woman">
                <a:extLst>
                  <a:ext uri="{FF2B5EF4-FFF2-40B4-BE49-F238E27FC236}">
                    <a16:creationId xmlns:a16="http://schemas.microsoft.com/office/drawing/2014/main" id="{328A32B6-8EB9-4821-B4FF-6366436C9FAB}"/>
                  </a:ext>
                </a:extLst>
              </p:cNvPr>
              <p:cNvPicPr preferRelativeResize="0"/>
              <p:nvPr/>
            </p:nvPicPr>
            <p:blipFill rotWithShape="1">
              <a:blip r:embed="rId10">
                <a:alphaModFix/>
              </a:blip>
              <a:srcRect/>
              <a:stretch/>
            </p:blipFill>
            <p:spPr>
              <a:xfrm>
                <a:off x="2287881" y="3570202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50" name="Google Shape;445;p26">
              <a:extLst>
                <a:ext uri="{FF2B5EF4-FFF2-40B4-BE49-F238E27FC236}">
                  <a16:creationId xmlns:a16="http://schemas.microsoft.com/office/drawing/2014/main" id="{43AE3DEF-491E-42CB-800A-D70A7E8282F9}"/>
                </a:ext>
              </a:extLst>
            </p:cNvPr>
            <p:cNvGrpSpPr/>
            <p:nvPr/>
          </p:nvGrpSpPr>
          <p:grpSpPr>
            <a:xfrm>
              <a:off x="11333290" y="2907524"/>
              <a:ext cx="620978" cy="400873"/>
              <a:chOff x="2287881" y="3570202"/>
              <a:chExt cx="1416464" cy="914400"/>
            </a:xfrm>
          </p:grpSpPr>
          <p:pic>
            <p:nvPicPr>
              <p:cNvPr id="69" name="Google Shape;446;p26" descr="Man">
                <a:extLst>
                  <a:ext uri="{FF2B5EF4-FFF2-40B4-BE49-F238E27FC236}">
                    <a16:creationId xmlns:a16="http://schemas.microsoft.com/office/drawing/2014/main" id="{A7DC82D0-2297-49A7-B2BF-8A7841A3317A}"/>
                  </a:ext>
                </a:extLst>
              </p:cNvPr>
              <p:cNvPicPr preferRelativeResize="0"/>
              <p:nvPr/>
            </p:nvPicPr>
            <p:blipFill rotWithShape="1">
              <a:blip r:embed="rId9">
                <a:alphaModFix/>
              </a:blip>
              <a:srcRect/>
              <a:stretch/>
            </p:blipFill>
            <p:spPr>
              <a:xfrm>
                <a:off x="2789945" y="3570202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70" name="Google Shape;447;p26" descr="Woman">
                <a:extLst>
                  <a:ext uri="{FF2B5EF4-FFF2-40B4-BE49-F238E27FC236}">
                    <a16:creationId xmlns:a16="http://schemas.microsoft.com/office/drawing/2014/main" id="{9CDF2292-3B41-4549-A2F4-072AA11ACC49}"/>
                  </a:ext>
                </a:extLst>
              </p:cNvPr>
              <p:cNvPicPr preferRelativeResize="0"/>
              <p:nvPr/>
            </p:nvPicPr>
            <p:blipFill rotWithShape="1">
              <a:blip r:embed="rId10">
                <a:alphaModFix/>
              </a:blip>
              <a:srcRect/>
              <a:stretch/>
            </p:blipFill>
            <p:spPr>
              <a:xfrm>
                <a:off x="2287881" y="3570202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51" name="Google Shape;448;p26">
              <a:extLst>
                <a:ext uri="{FF2B5EF4-FFF2-40B4-BE49-F238E27FC236}">
                  <a16:creationId xmlns:a16="http://schemas.microsoft.com/office/drawing/2014/main" id="{5514353C-3038-483F-B415-C50DCFE0EE2C}"/>
                </a:ext>
              </a:extLst>
            </p:cNvPr>
            <p:cNvGrpSpPr/>
            <p:nvPr/>
          </p:nvGrpSpPr>
          <p:grpSpPr>
            <a:xfrm>
              <a:off x="11537902" y="3375329"/>
              <a:ext cx="620978" cy="400873"/>
              <a:chOff x="2287881" y="3570202"/>
              <a:chExt cx="1416464" cy="914400"/>
            </a:xfrm>
          </p:grpSpPr>
          <p:pic>
            <p:nvPicPr>
              <p:cNvPr id="67" name="Google Shape;449;p26" descr="Man">
                <a:extLst>
                  <a:ext uri="{FF2B5EF4-FFF2-40B4-BE49-F238E27FC236}">
                    <a16:creationId xmlns:a16="http://schemas.microsoft.com/office/drawing/2014/main" id="{2E2F5F0C-B8EC-4B5E-981B-D829DC78E3A2}"/>
                  </a:ext>
                </a:extLst>
              </p:cNvPr>
              <p:cNvPicPr preferRelativeResize="0"/>
              <p:nvPr/>
            </p:nvPicPr>
            <p:blipFill rotWithShape="1">
              <a:blip r:embed="rId9">
                <a:alphaModFix/>
              </a:blip>
              <a:srcRect/>
              <a:stretch/>
            </p:blipFill>
            <p:spPr>
              <a:xfrm>
                <a:off x="2789945" y="3570202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68" name="Google Shape;450;p26" descr="Woman">
                <a:extLst>
                  <a:ext uri="{FF2B5EF4-FFF2-40B4-BE49-F238E27FC236}">
                    <a16:creationId xmlns:a16="http://schemas.microsoft.com/office/drawing/2014/main" id="{9F34FCEB-3729-4F4A-B61A-9CD236FBFA8D}"/>
                  </a:ext>
                </a:extLst>
              </p:cNvPr>
              <p:cNvPicPr preferRelativeResize="0"/>
              <p:nvPr/>
            </p:nvPicPr>
            <p:blipFill rotWithShape="1">
              <a:blip r:embed="rId10">
                <a:alphaModFix/>
              </a:blip>
              <a:srcRect/>
              <a:stretch/>
            </p:blipFill>
            <p:spPr>
              <a:xfrm>
                <a:off x="2287881" y="3570202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52" name="Google Shape;451;p26">
              <a:extLst>
                <a:ext uri="{FF2B5EF4-FFF2-40B4-BE49-F238E27FC236}">
                  <a16:creationId xmlns:a16="http://schemas.microsoft.com/office/drawing/2014/main" id="{BD340667-5FA8-4146-8455-136667ABC753}"/>
                </a:ext>
              </a:extLst>
            </p:cNvPr>
            <p:cNvGrpSpPr/>
            <p:nvPr/>
          </p:nvGrpSpPr>
          <p:grpSpPr>
            <a:xfrm>
              <a:off x="11214052" y="3936759"/>
              <a:ext cx="620978" cy="400873"/>
              <a:chOff x="2287881" y="3570202"/>
              <a:chExt cx="1416464" cy="914400"/>
            </a:xfrm>
          </p:grpSpPr>
          <p:pic>
            <p:nvPicPr>
              <p:cNvPr id="65" name="Google Shape;452;p26" descr="Man">
                <a:extLst>
                  <a:ext uri="{FF2B5EF4-FFF2-40B4-BE49-F238E27FC236}">
                    <a16:creationId xmlns:a16="http://schemas.microsoft.com/office/drawing/2014/main" id="{22AB6382-E70B-4047-9CAA-471673BC2093}"/>
                  </a:ext>
                </a:extLst>
              </p:cNvPr>
              <p:cNvPicPr preferRelativeResize="0"/>
              <p:nvPr/>
            </p:nvPicPr>
            <p:blipFill rotWithShape="1">
              <a:blip r:embed="rId9">
                <a:alphaModFix/>
              </a:blip>
              <a:srcRect/>
              <a:stretch/>
            </p:blipFill>
            <p:spPr>
              <a:xfrm>
                <a:off x="2789945" y="3570202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66" name="Google Shape;453;p26" descr="Woman">
                <a:extLst>
                  <a:ext uri="{FF2B5EF4-FFF2-40B4-BE49-F238E27FC236}">
                    <a16:creationId xmlns:a16="http://schemas.microsoft.com/office/drawing/2014/main" id="{3AFBC887-35EA-4C5D-95F9-9B0401EF5C12}"/>
                  </a:ext>
                </a:extLst>
              </p:cNvPr>
              <p:cNvPicPr preferRelativeResize="0"/>
              <p:nvPr/>
            </p:nvPicPr>
            <p:blipFill rotWithShape="1">
              <a:blip r:embed="rId10">
                <a:alphaModFix/>
              </a:blip>
              <a:srcRect/>
              <a:stretch/>
            </p:blipFill>
            <p:spPr>
              <a:xfrm>
                <a:off x="2287881" y="3570202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53" name="Google Shape;454;p26">
              <a:extLst>
                <a:ext uri="{FF2B5EF4-FFF2-40B4-BE49-F238E27FC236}">
                  <a16:creationId xmlns:a16="http://schemas.microsoft.com/office/drawing/2014/main" id="{42BBC2C9-205C-442C-80E7-0CE10B6785D3}"/>
                </a:ext>
              </a:extLst>
            </p:cNvPr>
            <p:cNvGrpSpPr/>
            <p:nvPr/>
          </p:nvGrpSpPr>
          <p:grpSpPr>
            <a:xfrm>
              <a:off x="10375882" y="4097627"/>
              <a:ext cx="620978" cy="400873"/>
              <a:chOff x="2287881" y="3570202"/>
              <a:chExt cx="1416464" cy="914400"/>
            </a:xfrm>
          </p:grpSpPr>
          <p:pic>
            <p:nvPicPr>
              <p:cNvPr id="63" name="Google Shape;455;p26" descr="Man">
                <a:extLst>
                  <a:ext uri="{FF2B5EF4-FFF2-40B4-BE49-F238E27FC236}">
                    <a16:creationId xmlns:a16="http://schemas.microsoft.com/office/drawing/2014/main" id="{D9882A5F-F01A-4C28-86C9-2FC5F9263F92}"/>
                  </a:ext>
                </a:extLst>
              </p:cNvPr>
              <p:cNvPicPr preferRelativeResize="0"/>
              <p:nvPr/>
            </p:nvPicPr>
            <p:blipFill rotWithShape="1">
              <a:blip r:embed="rId9">
                <a:alphaModFix/>
              </a:blip>
              <a:srcRect/>
              <a:stretch/>
            </p:blipFill>
            <p:spPr>
              <a:xfrm>
                <a:off x="2789945" y="3570202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64" name="Google Shape;456;p26" descr="Woman">
                <a:extLst>
                  <a:ext uri="{FF2B5EF4-FFF2-40B4-BE49-F238E27FC236}">
                    <a16:creationId xmlns:a16="http://schemas.microsoft.com/office/drawing/2014/main" id="{13608765-CFC0-4E7A-9DD3-B8616745B379}"/>
                  </a:ext>
                </a:extLst>
              </p:cNvPr>
              <p:cNvPicPr preferRelativeResize="0"/>
              <p:nvPr/>
            </p:nvPicPr>
            <p:blipFill rotWithShape="1">
              <a:blip r:embed="rId10">
                <a:alphaModFix/>
              </a:blip>
              <a:srcRect/>
              <a:stretch/>
            </p:blipFill>
            <p:spPr>
              <a:xfrm>
                <a:off x="2287881" y="3570202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54" name="Google Shape;457;p26">
              <a:extLst>
                <a:ext uri="{FF2B5EF4-FFF2-40B4-BE49-F238E27FC236}">
                  <a16:creationId xmlns:a16="http://schemas.microsoft.com/office/drawing/2014/main" id="{248122B8-D013-4DAB-90A2-50B20E2E3119}"/>
                </a:ext>
              </a:extLst>
            </p:cNvPr>
            <p:cNvGrpSpPr/>
            <p:nvPr/>
          </p:nvGrpSpPr>
          <p:grpSpPr>
            <a:xfrm>
              <a:off x="9915098" y="3643623"/>
              <a:ext cx="620978" cy="400873"/>
              <a:chOff x="2287881" y="3570202"/>
              <a:chExt cx="1416464" cy="914400"/>
            </a:xfrm>
          </p:grpSpPr>
          <p:pic>
            <p:nvPicPr>
              <p:cNvPr id="61" name="Google Shape;458;p26" descr="Man">
                <a:extLst>
                  <a:ext uri="{FF2B5EF4-FFF2-40B4-BE49-F238E27FC236}">
                    <a16:creationId xmlns:a16="http://schemas.microsoft.com/office/drawing/2014/main" id="{05C2C0BD-A34F-45F5-BC88-E42C364F25E8}"/>
                  </a:ext>
                </a:extLst>
              </p:cNvPr>
              <p:cNvPicPr preferRelativeResize="0"/>
              <p:nvPr/>
            </p:nvPicPr>
            <p:blipFill rotWithShape="1">
              <a:blip r:embed="rId9">
                <a:alphaModFix/>
              </a:blip>
              <a:srcRect/>
              <a:stretch/>
            </p:blipFill>
            <p:spPr>
              <a:xfrm>
                <a:off x="2789945" y="3570202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62" name="Google Shape;459;p26" descr="Woman">
                <a:extLst>
                  <a:ext uri="{FF2B5EF4-FFF2-40B4-BE49-F238E27FC236}">
                    <a16:creationId xmlns:a16="http://schemas.microsoft.com/office/drawing/2014/main" id="{22E639B8-96FB-45B1-9F02-C2A4293AD6CA}"/>
                  </a:ext>
                </a:extLst>
              </p:cNvPr>
              <p:cNvPicPr preferRelativeResize="0"/>
              <p:nvPr/>
            </p:nvPicPr>
            <p:blipFill rotWithShape="1">
              <a:blip r:embed="rId10">
                <a:alphaModFix/>
              </a:blip>
              <a:srcRect/>
              <a:stretch/>
            </p:blipFill>
            <p:spPr>
              <a:xfrm>
                <a:off x="2287881" y="3570202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55" name="Google Shape;460;p26">
              <a:extLst>
                <a:ext uri="{FF2B5EF4-FFF2-40B4-BE49-F238E27FC236}">
                  <a16:creationId xmlns:a16="http://schemas.microsoft.com/office/drawing/2014/main" id="{FC2A7326-818A-4AA4-8A02-0C6C8CCB2CCD}"/>
                </a:ext>
              </a:extLst>
            </p:cNvPr>
            <p:cNvGrpSpPr/>
            <p:nvPr/>
          </p:nvGrpSpPr>
          <p:grpSpPr>
            <a:xfrm>
              <a:off x="11103989" y="2398843"/>
              <a:ext cx="620978" cy="400873"/>
              <a:chOff x="2287881" y="3570202"/>
              <a:chExt cx="1416464" cy="914400"/>
            </a:xfrm>
          </p:grpSpPr>
          <p:pic>
            <p:nvPicPr>
              <p:cNvPr id="59" name="Google Shape;461;p26" descr="Man">
                <a:extLst>
                  <a:ext uri="{FF2B5EF4-FFF2-40B4-BE49-F238E27FC236}">
                    <a16:creationId xmlns:a16="http://schemas.microsoft.com/office/drawing/2014/main" id="{541EACF5-57AB-4700-A071-699F45A4E216}"/>
                  </a:ext>
                </a:extLst>
              </p:cNvPr>
              <p:cNvPicPr preferRelativeResize="0"/>
              <p:nvPr/>
            </p:nvPicPr>
            <p:blipFill rotWithShape="1">
              <a:blip r:embed="rId9">
                <a:alphaModFix/>
              </a:blip>
              <a:srcRect/>
              <a:stretch/>
            </p:blipFill>
            <p:spPr>
              <a:xfrm>
                <a:off x="2789945" y="3570202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60" name="Google Shape;462;p26" descr="Woman">
                <a:extLst>
                  <a:ext uri="{FF2B5EF4-FFF2-40B4-BE49-F238E27FC236}">
                    <a16:creationId xmlns:a16="http://schemas.microsoft.com/office/drawing/2014/main" id="{D3C90147-69B8-4D80-AEF9-A6C7862129E7}"/>
                  </a:ext>
                </a:extLst>
              </p:cNvPr>
              <p:cNvPicPr preferRelativeResize="0"/>
              <p:nvPr/>
            </p:nvPicPr>
            <p:blipFill rotWithShape="1">
              <a:blip r:embed="rId10">
                <a:alphaModFix/>
              </a:blip>
              <a:srcRect/>
              <a:stretch/>
            </p:blipFill>
            <p:spPr>
              <a:xfrm>
                <a:off x="2287881" y="3570202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56" name="Google Shape;463;p26">
              <a:extLst>
                <a:ext uri="{FF2B5EF4-FFF2-40B4-BE49-F238E27FC236}">
                  <a16:creationId xmlns:a16="http://schemas.microsoft.com/office/drawing/2014/main" id="{5DA9C328-EFF5-46B1-B8C2-C4B1AE833E2D}"/>
                </a:ext>
              </a:extLst>
            </p:cNvPr>
            <p:cNvGrpSpPr/>
            <p:nvPr/>
          </p:nvGrpSpPr>
          <p:grpSpPr>
            <a:xfrm>
              <a:off x="9925402" y="2760734"/>
              <a:ext cx="620978" cy="400873"/>
              <a:chOff x="2287881" y="3570202"/>
              <a:chExt cx="1416464" cy="914400"/>
            </a:xfrm>
          </p:grpSpPr>
          <p:pic>
            <p:nvPicPr>
              <p:cNvPr id="57" name="Google Shape;464;p26" descr="Man">
                <a:extLst>
                  <a:ext uri="{FF2B5EF4-FFF2-40B4-BE49-F238E27FC236}">
                    <a16:creationId xmlns:a16="http://schemas.microsoft.com/office/drawing/2014/main" id="{E8BE1B9D-CC7F-4395-9193-E30C7808D239}"/>
                  </a:ext>
                </a:extLst>
              </p:cNvPr>
              <p:cNvPicPr preferRelativeResize="0"/>
              <p:nvPr/>
            </p:nvPicPr>
            <p:blipFill rotWithShape="1">
              <a:blip r:embed="rId9">
                <a:alphaModFix/>
              </a:blip>
              <a:srcRect/>
              <a:stretch/>
            </p:blipFill>
            <p:spPr>
              <a:xfrm>
                <a:off x="2789945" y="3570202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58" name="Google Shape;465;p26" descr="Woman">
                <a:extLst>
                  <a:ext uri="{FF2B5EF4-FFF2-40B4-BE49-F238E27FC236}">
                    <a16:creationId xmlns:a16="http://schemas.microsoft.com/office/drawing/2014/main" id="{3B52E0A9-B832-4022-B05A-D580C149E9D0}"/>
                  </a:ext>
                </a:extLst>
              </p:cNvPr>
              <p:cNvPicPr preferRelativeResize="0"/>
              <p:nvPr/>
            </p:nvPicPr>
            <p:blipFill rotWithShape="1">
              <a:blip r:embed="rId10">
                <a:alphaModFix/>
              </a:blip>
              <a:srcRect/>
              <a:stretch/>
            </p:blipFill>
            <p:spPr>
              <a:xfrm>
                <a:off x="2287881" y="3570202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78" name="Grupp 77" descr="Handslaget påbörjar genomförandefasen.">
            <a:extLst>
              <a:ext uri="{FF2B5EF4-FFF2-40B4-BE49-F238E27FC236}">
                <a16:creationId xmlns:a16="http://schemas.microsoft.com/office/drawing/2014/main" id="{87A097B6-4AFF-4CBA-AEB7-23F06DCAEA04}"/>
              </a:ext>
            </a:extLst>
          </p:cNvPr>
          <p:cNvGrpSpPr/>
          <p:nvPr/>
        </p:nvGrpSpPr>
        <p:grpSpPr>
          <a:xfrm>
            <a:off x="6206033" y="2057961"/>
            <a:ext cx="774923" cy="818892"/>
            <a:chOff x="7384151" y="2911818"/>
            <a:chExt cx="774923" cy="818892"/>
          </a:xfrm>
        </p:grpSpPr>
        <p:sp>
          <p:nvSpPr>
            <p:cNvPr id="79" name="Oval 18">
              <a:extLst>
                <a:ext uri="{FF2B5EF4-FFF2-40B4-BE49-F238E27FC236}">
                  <a16:creationId xmlns:a16="http://schemas.microsoft.com/office/drawing/2014/main" id="{0BE95240-3E28-4D52-ABC8-920837ECFEE0}"/>
                </a:ext>
              </a:extLst>
            </p:cNvPr>
            <p:cNvSpPr/>
            <p:nvPr/>
          </p:nvSpPr>
          <p:spPr>
            <a:xfrm>
              <a:off x="7384151" y="2911818"/>
              <a:ext cx="774923" cy="818892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80" name="Google Shape;373;p46" descr="Handslaget påbörjarr själva genomföfrandefasen">
              <a:extLst>
                <a:ext uri="{FF2B5EF4-FFF2-40B4-BE49-F238E27FC236}">
                  <a16:creationId xmlns:a16="http://schemas.microsoft.com/office/drawing/2014/main" id="{104F6634-0D89-4333-9312-30A43114220C}"/>
                </a:ext>
              </a:extLst>
            </p:cNvPr>
            <p:cNvGrpSpPr/>
            <p:nvPr/>
          </p:nvGrpSpPr>
          <p:grpSpPr>
            <a:xfrm>
              <a:off x="7528612" y="3069509"/>
              <a:ext cx="486000" cy="486651"/>
              <a:chOff x="4763351" y="2165295"/>
              <a:chExt cx="648692" cy="626516"/>
            </a:xfrm>
          </p:grpSpPr>
          <p:pic>
            <p:nvPicPr>
              <p:cNvPr id="81" name="Google Shape;374;p46" descr="Handshake">
                <a:extLst>
                  <a:ext uri="{FF2B5EF4-FFF2-40B4-BE49-F238E27FC236}">
                    <a16:creationId xmlns:a16="http://schemas.microsoft.com/office/drawing/2014/main" id="{24D47273-DA05-4C26-8B62-CC291D861BC4}"/>
                  </a:ext>
                </a:extLst>
              </p:cNvPr>
              <p:cNvPicPr preferRelativeResize="0"/>
              <p:nvPr/>
            </p:nvPicPr>
            <p:blipFill rotWithShape="1">
              <a:blip r:embed="rId11">
                <a:alphaModFix/>
              </a:blip>
              <a:srcRect/>
              <a:stretch/>
            </p:blipFill>
            <p:spPr>
              <a:xfrm>
                <a:off x="4871833" y="2280126"/>
                <a:ext cx="431728" cy="396855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82" name="Google Shape;375;p46">
                <a:extLst>
                  <a:ext uri="{FF2B5EF4-FFF2-40B4-BE49-F238E27FC236}">
                    <a16:creationId xmlns:a16="http://schemas.microsoft.com/office/drawing/2014/main" id="{DF1C7223-25DD-416A-A4D6-CF3950250AA3}"/>
                  </a:ext>
                </a:extLst>
              </p:cNvPr>
              <p:cNvSpPr/>
              <p:nvPr/>
            </p:nvSpPr>
            <p:spPr>
              <a:xfrm>
                <a:off x="4763351" y="2165295"/>
                <a:ext cx="648692" cy="626516"/>
              </a:xfrm>
              <a:prstGeom prst="ellipse">
                <a:avLst/>
              </a:prstGeom>
              <a:noFill/>
              <a:ln w="50800" cap="flat" cmpd="sng">
                <a:solidFill>
                  <a:schemeClr val="accent3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33" tIns="45700" rIns="91433" bIns="45700" anchor="ctr" anchorCtr="0">
                <a:no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7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7669497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E0C0F82-0921-428E-BC18-2805DBE160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sz="3200" dirty="0"/>
              <a:t>Delarenans arbetsfaser fram till handslag</a:t>
            </a:r>
            <a:endParaRPr lang="sv-SE" dirty="0"/>
          </a:p>
        </p:txBody>
      </p:sp>
      <p:sp>
        <p:nvSpPr>
          <p:cNvPr id="82" name="Google Shape;664;p29">
            <a:extLst>
              <a:ext uri="{FF2B5EF4-FFF2-40B4-BE49-F238E27FC236}">
                <a16:creationId xmlns:a16="http://schemas.microsoft.com/office/drawing/2014/main" id="{17F4D3F4-2E80-4A60-BC7B-8F590090F196}"/>
              </a:ext>
            </a:extLst>
          </p:cNvPr>
          <p:cNvSpPr/>
          <p:nvPr/>
        </p:nvSpPr>
        <p:spPr>
          <a:xfrm>
            <a:off x="201306" y="1841138"/>
            <a:ext cx="1331600" cy="11366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1467" b="1" i="0" u="none" strike="noStrike" kern="0" cap="none" spc="0" normalizeH="0" baseline="0" noProof="0" dirty="0">
                <a:ln>
                  <a:noFill/>
                </a:ln>
                <a:solidFill>
                  <a:srgbClr val="844A07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rbetsfas</a:t>
            </a:r>
            <a:endParaRPr kumimoji="0" sz="146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84" name="Google Shape;664;p29">
            <a:extLst>
              <a:ext uri="{FF2B5EF4-FFF2-40B4-BE49-F238E27FC236}">
                <a16:creationId xmlns:a16="http://schemas.microsoft.com/office/drawing/2014/main" id="{D6256051-A3BE-4025-B2D0-A04F01B908A2}"/>
              </a:ext>
            </a:extLst>
          </p:cNvPr>
          <p:cNvSpPr/>
          <p:nvPr/>
        </p:nvSpPr>
        <p:spPr>
          <a:xfrm>
            <a:off x="186582" y="3042796"/>
            <a:ext cx="1584740" cy="145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1467" b="1" i="0" u="none" strike="noStrike" kern="0" cap="none" spc="0" normalizeH="0" baseline="0" noProof="0" dirty="0">
                <a:ln>
                  <a:noFill/>
                </a:ln>
                <a:solidFill>
                  <a:srgbClr val="844A07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Övergripande frågeställningar</a:t>
            </a:r>
            <a:endParaRPr kumimoji="0" sz="146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86" name="Google Shape;664;p29">
            <a:extLst>
              <a:ext uri="{FF2B5EF4-FFF2-40B4-BE49-F238E27FC236}">
                <a16:creationId xmlns:a16="http://schemas.microsoft.com/office/drawing/2014/main" id="{B2F40C9F-990B-4531-8B14-E31C31D60AEE}"/>
              </a:ext>
            </a:extLst>
          </p:cNvPr>
          <p:cNvSpPr/>
          <p:nvPr/>
        </p:nvSpPr>
        <p:spPr>
          <a:xfrm>
            <a:off x="201306" y="5076237"/>
            <a:ext cx="1331600" cy="145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1467" b="1" i="0" u="none" strike="noStrike" kern="0" cap="none" spc="0" normalizeH="0" baseline="0" noProof="0" dirty="0">
                <a:ln>
                  <a:noFill/>
                </a:ln>
                <a:solidFill>
                  <a:srgbClr val="844A07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Milstolpar</a:t>
            </a:r>
            <a:endParaRPr kumimoji="0" sz="146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79" name="Google Shape;658;p29" descr="Arbetsfas">
            <a:extLst>
              <a:ext uri="{FF2B5EF4-FFF2-40B4-BE49-F238E27FC236}">
                <a16:creationId xmlns:a16="http://schemas.microsoft.com/office/drawing/2014/main" id="{CA84DDF9-7902-4FF1-9A46-130F040DDEE5}"/>
              </a:ext>
            </a:extLst>
          </p:cNvPr>
          <p:cNvSpPr/>
          <p:nvPr/>
        </p:nvSpPr>
        <p:spPr>
          <a:xfrm>
            <a:off x="1788267" y="1873602"/>
            <a:ext cx="3288400" cy="847200"/>
          </a:xfrm>
          <a:prstGeom prst="chevron">
            <a:avLst>
              <a:gd name="adj" fmla="val 50000"/>
            </a:avLst>
          </a:prstGeom>
          <a:solidFill>
            <a:schemeClr val="accent3"/>
          </a:solidFill>
          <a:ln w="508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36000" tIns="45700" rIns="36000" bIns="45700" anchor="t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1467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Verkstad 1. </a:t>
            </a:r>
            <a:r>
              <a:rPr kumimoji="0" lang="en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Gemensam problemformulering</a:t>
            </a:r>
            <a:endParaRPr kumimoji="0" sz="146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91" name="Google Shape;661;p29" descr="Övergripande frågeställningar">
            <a:extLst>
              <a:ext uri="{FF2B5EF4-FFF2-40B4-BE49-F238E27FC236}">
                <a16:creationId xmlns:a16="http://schemas.microsoft.com/office/drawing/2014/main" id="{497A271F-832E-4B17-A169-C6B97394AAF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1788043" y="3128870"/>
            <a:ext cx="2888800" cy="1442460"/>
          </a:xfrm>
          <a:prstGeom prst="rect">
            <a:avLst/>
          </a:prstGeom>
          <a:solidFill>
            <a:srgbClr val="FFF1C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F39325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2" name="Google Shape;681;p29">
            <a:extLst>
              <a:ext uri="{FF2B5EF4-FFF2-40B4-BE49-F238E27FC236}">
                <a16:creationId xmlns:a16="http://schemas.microsoft.com/office/drawing/2014/main" id="{1084A85E-C3B8-41C2-9CA2-65041E8D8111}"/>
              </a:ext>
            </a:extLst>
          </p:cNvPr>
          <p:cNvSpPr/>
          <p:nvPr/>
        </p:nvSpPr>
        <p:spPr>
          <a:xfrm>
            <a:off x="1788266" y="3250558"/>
            <a:ext cx="2735607" cy="1344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186262" marR="0" lvl="0" indent="-19472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•"/>
              <a:tabLst/>
              <a:defRPr/>
            </a:pPr>
            <a:r>
              <a:rPr kumimoji="0" lang="e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Vad är problembilden idag? Vilka delar består den av?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186262" marR="0" lvl="0" indent="-194728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•"/>
              <a:tabLst/>
              <a:defRPr/>
            </a:pPr>
            <a:r>
              <a:rPr kumimoji="0" lang="e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Varför ser det ut som det gör?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186262" marR="0" lvl="0" indent="-194728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•"/>
              <a:tabLst/>
              <a:defRPr/>
            </a:pPr>
            <a:r>
              <a:rPr kumimoji="0" lang="e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Vad hindrar oss?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78" name="Google Shape;656;p29">
            <a:extLst>
              <a:ext uri="{FF2B5EF4-FFF2-40B4-BE49-F238E27FC236}">
                <a16:creationId xmlns:a16="http://schemas.microsoft.com/office/drawing/2014/main" id="{FDBA78EE-E554-4078-981C-633C44B4A0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87007" y="1689832"/>
            <a:ext cx="11869600" cy="1228436"/>
          </a:xfrm>
          <a:prstGeom prst="homePlate">
            <a:avLst>
              <a:gd name="adj" fmla="val 51698"/>
            </a:avLst>
          </a:prstGeom>
          <a:noFill/>
          <a:ln w="508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844A07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3" name="Google Shape;661;p29" descr="Milstolpar">
            <a:extLst>
              <a:ext uri="{FF2B5EF4-FFF2-40B4-BE49-F238E27FC236}">
                <a16:creationId xmlns:a16="http://schemas.microsoft.com/office/drawing/2014/main" id="{B17543E3-69E7-461B-ABCC-A47AC071E5A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1788043" y="4799008"/>
            <a:ext cx="2888800" cy="1457600"/>
          </a:xfrm>
          <a:prstGeom prst="rect">
            <a:avLst/>
          </a:prstGeom>
          <a:solidFill>
            <a:srgbClr val="FFF1C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200" b="1" i="0" u="none" strike="noStrike" kern="0" cap="none" spc="0" normalizeH="0" baseline="0" noProof="0" dirty="0">
              <a:ln>
                <a:noFill/>
              </a:ln>
              <a:solidFill>
                <a:srgbClr val="F39325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" name="Google Shape;684;p29">
            <a:extLst>
              <a:ext uri="{FF2B5EF4-FFF2-40B4-BE49-F238E27FC236}">
                <a16:creationId xmlns:a16="http://schemas.microsoft.com/office/drawing/2014/main" id="{8CD31C9F-0794-49DF-BAAE-4CF7ED802D15}"/>
              </a:ext>
            </a:extLst>
          </p:cNvPr>
          <p:cNvSpPr/>
          <p:nvPr/>
        </p:nvSpPr>
        <p:spPr>
          <a:xfrm>
            <a:off x="1844751" y="4888194"/>
            <a:ext cx="2832092" cy="12467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186262" marR="0" lvl="0" indent="-19472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•"/>
              <a:tabLst/>
              <a:defRPr/>
            </a:pPr>
            <a:r>
              <a:rPr kumimoji="0" lang="en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Utarbeta problemformulering</a:t>
            </a:r>
            <a:endParaRPr kumimoji="0" sz="146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186262" marR="0" lvl="0" indent="-194728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•"/>
              <a:tabLst/>
              <a:defRPr/>
            </a:pPr>
            <a:r>
              <a:rPr kumimoji="0" lang="en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Identifiera möjliga ytterligare deltagare</a:t>
            </a:r>
            <a:endParaRPr kumimoji="0" sz="146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186262" marR="0" lvl="0" indent="-194728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•"/>
              <a:tabLst/>
              <a:defRPr/>
            </a:pPr>
            <a:r>
              <a:rPr kumimoji="0" lang="en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kapa förutsättningar för fortsatt arbete</a:t>
            </a:r>
            <a:endParaRPr kumimoji="0" sz="146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80" name="Google Shape;659;p29" descr="Arbetsfas">
            <a:extLst>
              <a:ext uri="{FF2B5EF4-FFF2-40B4-BE49-F238E27FC236}">
                <a16:creationId xmlns:a16="http://schemas.microsoft.com/office/drawing/2014/main" id="{98DD63C2-D610-4C69-B22B-623544591199}"/>
              </a:ext>
            </a:extLst>
          </p:cNvPr>
          <p:cNvSpPr/>
          <p:nvPr/>
        </p:nvSpPr>
        <p:spPr>
          <a:xfrm>
            <a:off x="5029953" y="1873602"/>
            <a:ext cx="3288400" cy="847200"/>
          </a:xfrm>
          <a:prstGeom prst="chevron">
            <a:avLst>
              <a:gd name="adj" fmla="val 50000"/>
            </a:avLst>
          </a:prstGeom>
          <a:solidFill>
            <a:schemeClr val="accent3"/>
          </a:solidFill>
          <a:ln w="508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36000" tIns="45700" rIns="36000" bIns="45700" anchor="t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1467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Verkstad 2. </a:t>
            </a:r>
            <a:r>
              <a:rPr kumimoji="0" lang="en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Generera idéer om möjliga initiativ och formulera målbild</a:t>
            </a:r>
            <a:endParaRPr kumimoji="0" sz="146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95" name="Google Shape;661;p29" descr="Övergripande frågeställningar">
            <a:extLst>
              <a:ext uri="{FF2B5EF4-FFF2-40B4-BE49-F238E27FC236}">
                <a16:creationId xmlns:a16="http://schemas.microsoft.com/office/drawing/2014/main" id="{C52776AF-BE71-4AAE-9E0E-458D985CBDE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4986361" y="3118650"/>
            <a:ext cx="3039770" cy="1452679"/>
          </a:xfrm>
          <a:prstGeom prst="rect">
            <a:avLst/>
          </a:prstGeom>
          <a:solidFill>
            <a:srgbClr val="FFF1C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F39325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6" name="Google Shape;682;p29">
            <a:extLst>
              <a:ext uri="{FF2B5EF4-FFF2-40B4-BE49-F238E27FC236}">
                <a16:creationId xmlns:a16="http://schemas.microsoft.com/office/drawing/2014/main" id="{B47CD6A3-70A7-442C-95D1-410D789CB8B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4925310" y="3275036"/>
            <a:ext cx="3039770" cy="145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36000" bIns="45700" anchor="t" anchorCtr="0">
            <a:noAutofit/>
          </a:bodyPr>
          <a:lstStyle/>
          <a:p>
            <a:pPr marL="186262" marR="0" lvl="0" indent="-19472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•"/>
              <a:tabLst/>
              <a:defRPr/>
            </a:pPr>
            <a:r>
              <a:rPr kumimoji="0" lang="e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Vad ska vi börja med, sluta med, förändra, förstärka och skapa?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186262" marR="0" lvl="0" indent="-194728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•"/>
              <a:tabLst/>
              <a:defRPr/>
            </a:pPr>
            <a:r>
              <a:rPr kumimoji="0" lang="e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Vad kan vi göra självständigt, och vad behöver vi hjälp med?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186262" marR="0" lvl="0" indent="-194728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•"/>
              <a:tabLst/>
              <a:defRPr/>
            </a:pPr>
            <a:r>
              <a:rPr kumimoji="0" lang="e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Vilken målbild har vi?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00" name="Google Shape;661;p29" descr="Milstolpar">
            <a:extLst>
              <a:ext uri="{FF2B5EF4-FFF2-40B4-BE49-F238E27FC236}">
                <a16:creationId xmlns:a16="http://schemas.microsoft.com/office/drawing/2014/main" id="{F8650F9A-DB1B-42EA-8506-50462B21C7C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4991124" y="4823536"/>
            <a:ext cx="3039770" cy="1433072"/>
          </a:xfrm>
          <a:prstGeom prst="rect">
            <a:avLst/>
          </a:prstGeom>
          <a:solidFill>
            <a:srgbClr val="FFF1C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200" b="1" i="0" u="none" strike="noStrike" kern="0" cap="none" spc="0" normalizeH="0" baseline="0" noProof="0" dirty="0">
              <a:ln>
                <a:noFill/>
              </a:ln>
              <a:solidFill>
                <a:srgbClr val="F39325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" name="Google Shape;685;p29">
            <a:extLst>
              <a:ext uri="{FF2B5EF4-FFF2-40B4-BE49-F238E27FC236}">
                <a16:creationId xmlns:a16="http://schemas.microsoft.com/office/drawing/2014/main" id="{2FF7C086-BC27-4826-85ED-C20ED279642C}"/>
              </a:ext>
            </a:extLst>
          </p:cNvPr>
          <p:cNvSpPr/>
          <p:nvPr/>
        </p:nvSpPr>
        <p:spPr>
          <a:xfrm>
            <a:off x="4988688" y="4889583"/>
            <a:ext cx="3039770" cy="145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45700" rIns="36000" bIns="45700" anchor="t" anchorCtr="0">
            <a:noAutofit/>
          </a:bodyPr>
          <a:lstStyle/>
          <a:p>
            <a:pPr marL="186262" marR="0" lvl="0" indent="-19472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•"/>
              <a:tabLst/>
              <a:defRPr/>
            </a:pPr>
            <a:r>
              <a:rPr kumimoji="0" lang="e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Generera och prioritera mellan möjliga initiativ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186262" marR="0" lvl="0" indent="-194728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•"/>
              <a:tabLst/>
              <a:defRPr/>
            </a:pPr>
            <a:r>
              <a:rPr kumimoji="0" lang="e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Identifiera potentiella samarbets-partners och ambassadörer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186262" marR="0" lvl="0" indent="-194728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•"/>
              <a:tabLst/>
              <a:defRPr/>
            </a:pPr>
            <a:r>
              <a:rPr kumimoji="0" lang="e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Målbild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81" name="Google Shape;660;p29" descr="Arbetsfas">
            <a:extLst>
              <a:ext uri="{FF2B5EF4-FFF2-40B4-BE49-F238E27FC236}">
                <a16:creationId xmlns:a16="http://schemas.microsoft.com/office/drawing/2014/main" id="{BF88618C-F816-48D7-8AC6-0EED3DE2F2EC}"/>
              </a:ext>
            </a:extLst>
          </p:cNvPr>
          <p:cNvSpPr/>
          <p:nvPr/>
        </p:nvSpPr>
        <p:spPr>
          <a:xfrm>
            <a:off x="8271640" y="1873602"/>
            <a:ext cx="3288400" cy="847200"/>
          </a:xfrm>
          <a:prstGeom prst="chevron">
            <a:avLst>
              <a:gd name="adj" fmla="val 50000"/>
            </a:avLst>
          </a:prstGeom>
          <a:solidFill>
            <a:schemeClr val="accent3"/>
          </a:solidFill>
          <a:ln w="508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36000" tIns="45700" rIns="36000" bIns="45700" anchor="t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1467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Verkstad 3. </a:t>
            </a:r>
            <a:r>
              <a:rPr kumimoji="0" lang="en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Utforma arbetsplan och handslag</a:t>
            </a:r>
            <a:endParaRPr kumimoji="0" sz="146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97" name="Google Shape;661;p29" descr="Övergripande frågeställningar&#10;">
            <a:extLst>
              <a:ext uri="{FF2B5EF4-FFF2-40B4-BE49-F238E27FC236}">
                <a16:creationId xmlns:a16="http://schemas.microsoft.com/office/drawing/2014/main" id="{7DA6AE90-14AA-4FAE-8AA1-A76A38F7A3E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8188178" y="3128870"/>
            <a:ext cx="3039770" cy="1442460"/>
          </a:xfrm>
          <a:prstGeom prst="rect">
            <a:avLst/>
          </a:prstGeom>
          <a:solidFill>
            <a:srgbClr val="FFF1C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F39325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" name="Google Shape;683;p29">
            <a:extLst>
              <a:ext uri="{FF2B5EF4-FFF2-40B4-BE49-F238E27FC236}">
                <a16:creationId xmlns:a16="http://schemas.microsoft.com/office/drawing/2014/main" id="{3983F6B0-6161-4103-B02E-1D89DF84332B}"/>
              </a:ext>
            </a:extLst>
          </p:cNvPr>
          <p:cNvSpPr/>
          <p:nvPr/>
        </p:nvSpPr>
        <p:spPr>
          <a:xfrm>
            <a:off x="8213547" y="3160867"/>
            <a:ext cx="3098627" cy="14424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186262" marR="0" lvl="0" indent="-19472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•"/>
              <a:tabLst/>
              <a:defRPr/>
            </a:pPr>
            <a:r>
              <a:rPr kumimoji="0" lang="e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Hur kan de identifierade initiativen omsättas i handslag?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186262" marR="0" lvl="0" indent="-194728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•"/>
              <a:tabLst/>
              <a:defRPr/>
            </a:pPr>
            <a:r>
              <a:rPr kumimoji="0" lang="e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Vilken förankring krävs för att kunna genomföra dessa?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186262" marR="0" lvl="0" indent="-194728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•"/>
              <a:tabLst/>
              <a:defRPr/>
            </a:pPr>
            <a:r>
              <a:rPr kumimoji="0" lang="en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Vilka aktiviteter behöver vi genomföra inom initiativet?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01" name="Google Shape;661;p29" descr="Milstolpar">
            <a:extLst>
              <a:ext uri="{FF2B5EF4-FFF2-40B4-BE49-F238E27FC236}">
                <a16:creationId xmlns:a16="http://schemas.microsoft.com/office/drawing/2014/main" id="{68DF5B79-1FCD-4E7D-85CF-ED88ABC2D9B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8213547" y="4768797"/>
            <a:ext cx="3039770" cy="1487812"/>
          </a:xfrm>
          <a:prstGeom prst="rect">
            <a:avLst/>
          </a:prstGeom>
          <a:solidFill>
            <a:srgbClr val="FFF1CE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200" b="1" i="0" u="none" strike="noStrike" kern="0" cap="none" spc="0" normalizeH="0" baseline="0" noProof="0" dirty="0">
              <a:ln>
                <a:noFill/>
              </a:ln>
              <a:solidFill>
                <a:srgbClr val="F39325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" name="Google Shape;686;p29">
            <a:extLst>
              <a:ext uri="{FF2B5EF4-FFF2-40B4-BE49-F238E27FC236}">
                <a16:creationId xmlns:a16="http://schemas.microsoft.com/office/drawing/2014/main" id="{FA268E0F-71A7-4A99-A10C-E1C29E212866}"/>
              </a:ext>
            </a:extLst>
          </p:cNvPr>
          <p:cNvSpPr/>
          <p:nvPr/>
        </p:nvSpPr>
        <p:spPr>
          <a:xfrm>
            <a:off x="8267663" y="4889583"/>
            <a:ext cx="2880800" cy="145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186262" marR="0" lvl="0" indent="-19472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•"/>
              <a:tabLst/>
              <a:defRPr/>
            </a:pPr>
            <a:r>
              <a:rPr kumimoji="0" lang="en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Utforma ett konkret förslag på handslag som alla berörda aktörer med åtaganden står bakom</a:t>
            </a:r>
            <a:endParaRPr kumimoji="0" sz="146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186262" marR="0" lvl="0" indent="-194728" algn="l" defTabSz="1219170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•"/>
              <a:tabLst/>
              <a:defRPr/>
            </a:pPr>
            <a:r>
              <a:rPr kumimoji="0" lang="en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Plan för fortsatt arbete</a:t>
            </a:r>
            <a:endParaRPr kumimoji="0" sz="146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83" name="Google Shape;656;p29">
            <a:extLst>
              <a:ext uri="{FF2B5EF4-FFF2-40B4-BE49-F238E27FC236}">
                <a16:creationId xmlns:a16="http://schemas.microsoft.com/office/drawing/2014/main" id="{077E71A9-914D-4EC6-B86E-247A46F7AD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87005" y="3102038"/>
            <a:ext cx="11869600" cy="1513200"/>
          </a:xfrm>
          <a:prstGeom prst="homePlate">
            <a:avLst>
              <a:gd name="adj" fmla="val 51698"/>
            </a:avLst>
          </a:prstGeom>
          <a:noFill/>
          <a:ln w="508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844A07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5" name="Google Shape;656;p29">
            <a:extLst>
              <a:ext uri="{FF2B5EF4-FFF2-40B4-BE49-F238E27FC236}">
                <a16:creationId xmlns:a16="http://schemas.microsoft.com/office/drawing/2014/main" id="{EBDA54A8-05CD-42E3-8F98-CB1768D58D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87007" y="4768796"/>
            <a:ext cx="11869600" cy="1513200"/>
          </a:xfrm>
          <a:prstGeom prst="homePlate">
            <a:avLst>
              <a:gd name="adj" fmla="val 51698"/>
            </a:avLst>
          </a:prstGeom>
          <a:noFill/>
          <a:ln w="508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844A07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9" name="Google Shape;691;p29">
            <a:extLst>
              <a:ext uri="{FF2B5EF4-FFF2-40B4-BE49-F238E27FC236}">
                <a16:creationId xmlns:a16="http://schemas.microsoft.com/office/drawing/2014/main" id="{4584EC2C-602C-448D-8FB8-17CF38CAABC3}"/>
              </a:ext>
            </a:extLst>
          </p:cNvPr>
          <p:cNvSpPr/>
          <p:nvPr/>
        </p:nvSpPr>
        <p:spPr>
          <a:xfrm>
            <a:off x="199375" y="6370896"/>
            <a:ext cx="6236149" cy="389095"/>
          </a:xfrm>
          <a:prstGeom prst="wedgeRectCallout">
            <a:avLst>
              <a:gd name="adj1" fmla="val 41367"/>
              <a:gd name="adj2" fmla="val -64968"/>
            </a:avLst>
          </a:prstGeom>
          <a:solidFill>
            <a:srgbClr val="C6E3F2">
              <a:alpha val="95690"/>
            </a:srgbClr>
          </a:solidFill>
          <a:ln w="38100" cap="flat" cmpd="sng">
            <a:solidFill>
              <a:srgbClr val="87C6E5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Vid behov genomförs fler möten för att nå i mål med arbetsplan/handslag</a:t>
            </a:r>
            <a:endParaRPr kumimoji="0" sz="146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90" name="Google Shape;687;p29">
            <a:extLst>
              <a:ext uri="{FF2B5EF4-FFF2-40B4-BE49-F238E27FC236}">
                <a16:creationId xmlns:a16="http://schemas.microsoft.com/office/drawing/2014/main" id="{0105441F-BD1F-4DDB-841D-CBB50AEB525E}"/>
              </a:ext>
            </a:extLst>
          </p:cNvPr>
          <p:cNvSpPr/>
          <p:nvPr/>
        </p:nvSpPr>
        <p:spPr>
          <a:xfrm>
            <a:off x="6653640" y="6348043"/>
            <a:ext cx="9812800" cy="390922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1400" b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Kontinuerligt stärka utvecklingsarbetet inom delarenans område</a:t>
            </a:r>
            <a:endParaRPr kumimoji="0" sz="1600" b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0934832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E0C0F82-0921-428E-BC18-2805DBE16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0293" y="1346448"/>
            <a:ext cx="11065769" cy="714501"/>
          </a:xfrm>
        </p:spPr>
        <p:txBody>
          <a:bodyPr/>
          <a:lstStyle/>
          <a:p>
            <a:r>
              <a:rPr lang="sv-SE" dirty="0"/>
              <a:t>Visionen om ett handslag</a:t>
            </a:r>
            <a:br>
              <a:rPr lang="sv-SE" dirty="0"/>
            </a:br>
            <a:r>
              <a:rPr lang="sv-SE" b="0" dirty="0"/>
              <a:t>Illustrativt exempel, </a:t>
            </a:r>
            <a:br>
              <a:rPr lang="sv-SE" b="0" dirty="0"/>
            </a:br>
            <a:r>
              <a:rPr lang="sv-SE" b="0" dirty="0"/>
              <a:t>nuläge och handslag</a:t>
            </a:r>
            <a:endParaRPr lang="sv-SE" dirty="0"/>
          </a:p>
        </p:txBody>
      </p:sp>
      <p:sp>
        <p:nvSpPr>
          <p:cNvPr id="29" name="Rectangle 50">
            <a:extLst>
              <a:ext uri="{FF2B5EF4-FFF2-40B4-BE49-F238E27FC236}">
                <a16:creationId xmlns:a16="http://schemas.microsoft.com/office/drawing/2014/main" id="{BECBC1E0-C188-4889-B758-7390BE065B9C}"/>
              </a:ext>
            </a:extLst>
          </p:cNvPr>
          <p:cNvSpPr/>
          <p:nvPr/>
        </p:nvSpPr>
        <p:spPr>
          <a:xfrm>
            <a:off x="270429" y="2222776"/>
            <a:ext cx="5711435" cy="2756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uläge </a:t>
            </a:r>
            <a:r>
              <a:rPr kumimoji="0" lang="sv-SE" sz="120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–</a:t>
            </a:r>
            <a:r>
              <a:rPr kumimoji="0" lang="sv-SE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sv-SE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mfattande</a:t>
            </a:r>
            <a:r>
              <a:rPr lang="sv-SE" sz="1200" i="1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ågående utvecklingsarbete </a:t>
            </a:r>
            <a:r>
              <a:rPr kumimoji="0" lang="sv-SE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pplat till en fråga/utmaning</a:t>
            </a:r>
          </a:p>
        </p:txBody>
      </p:sp>
      <p:sp>
        <p:nvSpPr>
          <p:cNvPr id="26" name="Flowchart: Process 7">
            <a:extLst>
              <a:ext uri="{FF2B5EF4-FFF2-40B4-BE49-F238E27FC236}">
                <a16:creationId xmlns:a16="http://schemas.microsoft.com/office/drawing/2014/main" id="{5E652B13-D847-440A-B373-4BE976776B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81663" y="2548242"/>
            <a:ext cx="5219821" cy="3585474"/>
          </a:xfrm>
          <a:prstGeom prst="flowChartProcess">
            <a:avLst/>
          </a:prstGeom>
          <a:solidFill>
            <a:schemeClr val="bg1"/>
          </a:solidFill>
          <a:ln w="38100">
            <a:solidFill>
              <a:schemeClr val="accent3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27" name="Bildobjekt 26" descr="I nuläget arbetar myndigheter, regioner/kommuner/näringsliv och civilsamhälle med att ta fram budskap, genomföra insatser och sprida kunskapsinsatser utan någon som helst struktur.">
            <a:extLst>
              <a:ext uri="{FF2B5EF4-FFF2-40B4-BE49-F238E27FC236}">
                <a16:creationId xmlns:a16="http://schemas.microsoft.com/office/drawing/2014/main" id="{4AA8DFBF-A53B-4679-8176-2EA9D43F97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5993" y="2647868"/>
            <a:ext cx="4898900" cy="3381895"/>
          </a:xfrm>
          <a:prstGeom prst="rect">
            <a:avLst/>
          </a:prstGeom>
        </p:spPr>
      </p:pic>
      <p:pic>
        <p:nvPicPr>
          <p:cNvPr id="28" name="Bildobjekt 27">
            <a:extLst>
              <a:ext uri="{FF2B5EF4-FFF2-40B4-BE49-F238E27FC236}">
                <a16:creationId xmlns:a16="http://schemas.microsoft.com/office/drawing/2014/main" id="{05FB6BE4-A6EF-47F2-9931-F2BE956F41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15784" y="1917300"/>
            <a:ext cx="6144458" cy="4911744"/>
          </a:xfrm>
          <a:prstGeom prst="rect">
            <a:avLst/>
          </a:prstGeom>
        </p:spPr>
      </p:pic>
      <p:grpSp>
        <p:nvGrpSpPr>
          <p:cNvPr id="3" name="Grupp 2">
            <a:extLst>
              <a:ext uri="{FF2B5EF4-FFF2-40B4-BE49-F238E27FC236}">
                <a16:creationId xmlns:a16="http://schemas.microsoft.com/office/drawing/2014/main" id="{D34B5539-46C8-44FF-A698-E3CB5C53EE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7535314" y="639769"/>
            <a:ext cx="180622" cy="744300"/>
            <a:chOff x="7535314" y="206635"/>
            <a:chExt cx="180622" cy="744300"/>
          </a:xfrm>
        </p:grpSpPr>
        <p:sp>
          <p:nvSpPr>
            <p:cNvPr id="31" name="Rectangle 41">
              <a:extLst>
                <a:ext uri="{FF2B5EF4-FFF2-40B4-BE49-F238E27FC236}">
                  <a16:creationId xmlns:a16="http://schemas.microsoft.com/office/drawing/2014/main" id="{7841AE3F-1F78-4779-A82B-6F90D60E358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7535314" y="206635"/>
              <a:ext cx="180622" cy="14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dirty="0"/>
            </a:p>
          </p:txBody>
        </p:sp>
        <p:sp>
          <p:nvSpPr>
            <p:cNvPr id="32" name="Rectangle 42">
              <a:extLst>
                <a:ext uri="{FF2B5EF4-FFF2-40B4-BE49-F238E27FC236}">
                  <a16:creationId xmlns:a16="http://schemas.microsoft.com/office/drawing/2014/main" id="{2E0684B8-1E89-4C01-A5FF-E290F43C6BF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7535314" y="617317"/>
              <a:ext cx="180622" cy="144000"/>
            </a:xfrm>
            <a:prstGeom prst="rect">
              <a:avLst/>
            </a:prstGeom>
            <a:solidFill>
              <a:srgbClr val="0E779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33" name="Rectangle 46">
              <a:extLst>
                <a:ext uri="{FF2B5EF4-FFF2-40B4-BE49-F238E27FC236}">
                  <a16:creationId xmlns:a16="http://schemas.microsoft.com/office/drawing/2014/main" id="{56D553AA-82BB-41DC-8604-29C48A3CCA1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7535314" y="421373"/>
              <a:ext cx="180622" cy="144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34" name="Rectangle 48">
              <a:extLst>
                <a:ext uri="{FF2B5EF4-FFF2-40B4-BE49-F238E27FC236}">
                  <a16:creationId xmlns:a16="http://schemas.microsoft.com/office/drawing/2014/main" id="{82830C26-5060-4331-8127-D3320F47A7C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7535314" y="806935"/>
              <a:ext cx="180622" cy="144000"/>
            </a:xfrm>
            <a:prstGeom prst="rect">
              <a:avLst/>
            </a:prstGeom>
            <a:solidFill>
              <a:srgbClr val="730B3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36" name="TextBox 44">
            <a:extLst>
              <a:ext uri="{FF2B5EF4-FFF2-40B4-BE49-F238E27FC236}">
                <a16:creationId xmlns:a16="http://schemas.microsoft.com/office/drawing/2014/main" id="{BDCF5207-BC1A-4430-8D7C-E0593C7C0F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7715936" y="577508"/>
            <a:ext cx="143216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/>
              <a:t>Myndigheter</a:t>
            </a:r>
          </a:p>
        </p:txBody>
      </p:sp>
      <p:sp>
        <p:nvSpPr>
          <p:cNvPr id="37" name="TextBox 45">
            <a:extLst>
              <a:ext uri="{FF2B5EF4-FFF2-40B4-BE49-F238E27FC236}">
                <a16:creationId xmlns:a16="http://schemas.microsoft.com/office/drawing/2014/main" id="{30DBD13A-E0F5-47F7-B651-E2E3D54248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7715936" y="965528"/>
            <a:ext cx="143216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/>
              <a:t>Näringsliv</a:t>
            </a:r>
          </a:p>
        </p:txBody>
      </p:sp>
      <p:sp>
        <p:nvSpPr>
          <p:cNvPr id="38" name="TextBox 47">
            <a:extLst>
              <a:ext uri="{FF2B5EF4-FFF2-40B4-BE49-F238E27FC236}">
                <a16:creationId xmlns:a16="http://schemas.microsoft.com/office/drawing/2014/main" id="{C761AB5A-204A-4587-8109-4BF094D4BF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7715936" y="780957"/>
            <a:ext cx="16318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/>
              <a:t>Regioner/kommuner</a:t>
            </a:r>
          </a:p>
        </p:txBody>
      </p:sp>
      <p:sp>
        <p:nvSpPr>
          <p:cNvPr id="39" name="TextBox 49">
            <a:extLst>
              <a:ext uri="{FF2B5EF4-FFF2-40B4-BE49-F238E27FC236}">
                <a16:creationId xmlns:a16="http://schemas.microsoft.com/office/drawing/2014/main" id="{873B7FB3-4175-4DA8-A900-1639D5FBA9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7715936" y="1155146"/>
            <a:ext cx="143216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/>
              <a:t>Civilsamhälle</a:t>
            </a:r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69F446C9-66A2-474B-A427-DBCFAA6F4B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9170275" y="470606"/>
            <a:ext cx="2625084" cy="966638"/>
            <a:chOff x="9170275" y="37472"/>
            <a:chExt cx="2625084" cy="966638"/>
          </a:xfrm>
        </p:grpSpPr>
        <p:sp>
          <p:nvSpPr>
            <p:cNvPr id="50" name="TextBox 37">
              <a:extLst>
                <a:ext uri="{FF2B5EF4-FFF2-40B4-BE49-F238E27FC236}">
                  <a16:creationId xmlns:a16="http://schemas.microsoft.com/office/drawing/2014/main" id="{590F1F77-35B0-4B00-A813-BC9995FC631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/>
            <p:nvPr/>
          </p:nvSpPr>
          <p:spPr>
            <a:xfrm>
              <a:off x="9516205" y="171028"/>
              <a:ext cx="227915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1200" dirty="0"/>
                <a:t>Ta fram kunskap</a:t>
              </a:r>
            </a:p>
          </p:txBody>
        </p:sp>
        <p:sp>
          <p:nvSpPr>
            <p:cNvPr id="51" name="TextBox 38">
              <a:extLst>
                <a:ext uri="{FF2B5EF4-FFF2-40B4-BE49-F238E27FC236}">
                  <a16:creationId xmlns:a16="http://schemas.microsoft.com/office/drawing/2014/main" id="{27E0129F-F708-4128-BE02-73C30355D5F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/>
            <p:nvPr/>
          </p:nvSpPr>
          <p:spPr>
            <a:xfrm>
              <a:off x="9516204" y="436225"/>
              <a:ext cx="227915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1200" dirty="0"/>
                <a:t>Genomföra/testa insatser</a:t>
              </a:r>
            </a:p>
          </p:txBody>
        </p:sp>
        <p:sp>
          <p:nvSpPr>
            <p:cNvPr id="52" name="TextBox 40">
              <a:extLst>
                <a:ext uri="{FF2B5EF4-FFF2-40B4-BE49-F238E27FC236}">
                  <a16:creationId xmlns:a16="http://schemas.microsoft.com/office/drawing/2014/main" id="{318EAFE2-DA7F-4540-B227-6408D64C03B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/>
            <p:nvPr/>
          </p:nvSpPr>
          <p:spPr>
            <a:xfrm>
              <a:off x="9516204" y="727111"/>
              <a:ext cx="227915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1200"/>
                <a:t>Spridning av kunskap/insatser</a:t>
              </a:r>
            </a:p>
          </p:txBody>
        </p:sp>
        <p:pic>
          <p:nvPicPr>
            <p:cNvPr id="53" name="Picture 94">
              <a:extLst>
                <a:ext uri="{FF2B5EF4-FFF2-40B4-BE49-F238E27FC236}">
                  <a16:creationId xmlns:a16="http://schemas.microsoft.com/office/drawing/2014/main" id="{B10E0DB8-8516-4AC9-995F-A2C8ECF12CA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270024" y="757932"/>
              <a:ext cx="212311" cy="212311"/>
            </a:xfrm>
            <a:prstGeom prst="rect">
              <a:avLst/>
            </a:prstGeom>
          </p:spPr>
        </p:pic>
        <p:pic>
          <p:nvPicPr>
            <p:cNvPr id="54" name="Picture 95">
              <a:extLst>
                <a:ext uri="{FF2B5EF4-FFF2-40B4-BE49-F238E27FC236}">
                  <a16:creationId xmlns:a16="http://schemas.microsoft.com/office/drawing/2014/main" id="{0F600F99-C6AB-42B0-8419-5B90DF1E5D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28697" y="443227"/>
              <a:ext cx="287506" cy="254250"/>
            </a:xfrm>
            <a:prstGeom prst="rect">
              <a:avLst/>
            </a:prstGeom>
          </p:spPr>
        </p:pic>
        <p:pic>
          <p:nvPicPr>
            <p:cNvPr id="55" name="Picture 96">
              <a:extLst>
                <a:ext uri="{FF2B5EF4-FFF2-40B4-BE49-F238E27FC236}">
                  <a16:creationId xmlns:a16="http://schemas.microsoft.com/office/drawing/2014/main" id="{5308D964-5654-4BF3-97B0-59B85857823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70275" y="37472"/>
              <a:ext cx="401737" cy="401737"/>
            </a:xfrm>
            <a:prstGeom prst="rect">
              <a:avLst/>
            </a:prstGeom>
          </p:spPr>
        </p:pic>
      </p:grpSp>
      <p:grpSp>
        <p:nvGrpSpPr>
          <p:cNvPr id="5" name="Grupp 4" descr="Nuläget leder till Handslaget">
            <a:extLst>
              <a:ext uri="{FF2B5EF4-FFF2-40B4-BE49-F238E27FC236}">
                <a16:creationId xmlns:a16="http://schemas.microsoft.com/office/drawing/2014/main" id="{ABD612EF-2687-422E-AAE1-F4212E779A67}"/>
              </a:ext>
            </a:extLst>
          </p:cNvPr>
          <p:cNvGrpSpPr/>
          <p:nvPr/>
        </p:nvGrpSpPr>
        <p:grpSpPr>
          <a:xfrm>
            <a:off x="5508073" y="2959787"/>
            <a:ext cx="668632" cy="416968"/>
            <a:chOff x="5508073" y="2959787"/>
            <a:chExt cx="668632" cy="416968"/>
          </a:xfrm>
        </p:grpSpPr>
        <p:sp>
          <p:nvSpPr>
            <p:cNvPr id="57" name="Arrow: Chevron 108">
              <a:extLst>
                <a:ext uri="{FF2B5EF4-FFF2-40B4-BE49-F238E27FC236}">
                  <a16:creationId xmlns:a16="http://schemas.microsoft.com/office/drawing/2014/main" id="{63B36EB2-C7CE-48D0-8D70-871A7D7B1D4A}"/>
                </a:ext>
              </a:extLst>
            </p:cNvPr>
            <p:cNvSpPr/>
            <p:nvPr/>
          </p:nvSpPr>
          <p:spPr>
            <a:xfrm>
              <a:off x="5508073" y="2959788"/>
              <a:ext cx="415422" cy="416967"/>
            </a:xfrm>
            <a:prstGeom prst="chevron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>
                <a:solidFill>
                  <a:schemeClr val="tx1"/>
                </a:solidFill>
              </a:endParaRPr>
            </a:p>
          </p:txBody>
        </p:sp>
        <p:sp>
          <p:nvSpPr>
            <p:cNvPr id="58" name="Arrow: Chevron 109">
              <a:extLst>
                <a:ext uri="{FF2B5EF4-FFF2-40B4-BE49-F238E27FC236}">
                  <a16:creationId xmlns:a16="http://schemas.microsoft.com/office/drawing/2014/main" id="{D1190583-96A4-4A79-AA22-CDD2C1503AFB}"/>
                </a:ext>
              </a:extLst>
            </p:cNvPr>
            <p:cNvSpPr/>
            <p:nvPr/>
          </p:nvSpPr>
          <p:spPr>
            <a:xfrm>
              <a:off x="5761283" y="2959787"/>
              <a:ext cx="415422" cy="416967"/>
            </a:xfrm>
            <a:prstGeom prst="chevron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>
                <a:solidFill>
                  <a:schemeClr val="tx1"/>
                </a:solidFill>
              </a:endParaRPr>
            </a:p>
          </p:txBody>
        </p:sp>
      </p:grpSp>
      <p:sp>
        <p:nvSpPr>
          <p:cNvPr id="30" name="Rectangle 227">
            <a:extLst>
              <a:ext uri="{FF2B5EF4-FFF2-40B4-BE49-F238E27FC236}">
                <a16:creationId xmlns:a16="http://schemas.microsoft.com/office/drawing/2014/main" id="{CD57854C-3976-485B-9CDC-33752C6C9079}"/>
              </a:ext>
            </a:extLst>
          </p:cNvPr>
          <p:cNvSpPr/>
          <p:nvPr/>
        </p:nvSpPr>
        <p:spPr>
          <a:xfrm>
            <a:off x="5883570" y="2241826"/>
            <a:ext cx="4956678" cy="2756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 i="1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andslag </a:t>
            </a:r>
            <a:r>
              <a:rPr lang="sv-SE" sz="1200" i="1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–</a:t>
            </a:r>
            <a:r>
              <a:rPr lang="sv-SE" sz="1200" b="1" i="1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sv-SE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amlar utvecklingskraften mot en gemensam målbild</a:t>
            </a:r>
          </a:p>
        </p:txBody>
      </p:sp>
      <p:sp>
        <p:nvSpPr>
          <p:cNvPr id="63" name="Rectangle: Rounded Corners 222">
            <a:extLst>
              <a:ext uri="{FF2B5EF4-FFF2-40B4-BE49-F238E27FC236}">
                <a16:creationId xmlns:a16="http://schemas.microsoft.com/office/drawing/2014/main" id="{A9E46617-D642-4FA4-BC7A-8B81B2D5B6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372786" y="2758422"/>
            <a:ext cx="738134" cy="1005339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8" name="Rectangle 212">
            <a:extLst>
              <a:ext uri="{FF2B5EF4-FFF2-40B4-BE49-F238E27FC236}">
                <a16:creationId xmlns:a16="http://schemas.microsoft.com/office/drawing/2014/main" id="{657FB436-7A74-467A-ACA9-9DE6CA34D7D6}"/>
              </a:ext>
            </a:extLst>
          </p:cNvPr>
          <p:cNvSpPr/>
          <p:nvPr/>
        </p:nvSpPr>
        <p:spPr>
          <a:xfrm>
            <a:off x="6088400" y="2514121"/>
            <a:ext cx="4200087" cy="2526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. Ett mer hälsofrämjande samhälle och levnadssätt</a:t>
            </a:r>
            <a:r>
              <a:rPr kumimoji="0" lang="sv-S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 </a:t>
            </a:r>
            <a:endParaRPr kumimoji="0" lang="sv-SE" sz="105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64" name="Grupp 63" descr="Myndigheter smo tar fram kunskap">
            <a:extLst>
              <a:ext uri="{FF2B5EF4-FFF2-40B4-BE49-F238E27FC236}">
                <a16:creationId xmlns:a16="http://schemas.microsoft.com/office/drawing/2014/main" id="{F63425CE-28D9-4651-99C3-63C792F778AB}"/>
              </a:ext>
            </a:extLst>
          </p:cNvPr>
          <p:cNvGrpSpPr/>
          <p:nvPr/>
        </p:nvGrpSpPr>
        <p:grpSpPr>
          <a:xfrm>
            <a:off x="6489295" y="2724684"/>
            <a:ext cx="476533" cy="1071799"/>
            <a:chOff x="6364067" y="2076776"/>
            <a:chExt cx="476533" cy="1071799"/>
          </a:xfrm>
        </p:grpSpPr>
        <p:pic>
          <p:nvPicPr>
            <p:cNvPr id="65" name="Picture 223">
              <a:extLst>
                <a:ext uri="{FF2B5EF4-FFF2-40B4-BE49-F238E27FC236}">
                  <a16:creationId xmlns:a16="http://schemas.microsoft.com/office/drawing/2014/main" id="{9CFF3BF4-A274-4274-928D-3AEDAC628F1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73741" y="2076776"/>
              <a:ext cx="466859" cy="466859"/>
            </a:xfrm>
            <a:prstGeom prst="rect">
              <a:avLst/>
            </a:prstGeom>
          </p:spPr>
        </p:pic>
        <p:pic>
          <p:nvPicPr>
            <p:cNvPr id="66" name="Picture 224">
              <a:extLst>
                <a:ext uri="{FF2B5EF4-FFF2-40B4-BE49-F238E27FC236}">
                  <a16:creationId xmlns:a16="http://schemas.microsoft.com/office/drawing/2014/main" id="{29B6C4E2-ED70-4A24-BC4C-523AB9F41AE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64067" y="2379737"/>
              <a:ext cx="466859" cy="466859"/>
            </a:xfrm>
            <a:prstGeom prst="rect">
              <a:avLst/>
            </a:prstGeom>
          </p:spPr>
        </p:pic>
        <p:pic>
          <p:nvPicPr>
            <p:cNvPr id="67" name="Picture 225">
              <a:extLst>
                <a:ext uri="{FF2B5EF4-FFF2-40B4-BE49-F238E27FC236}">
                  <a16:creationId xmlns:a16="http://schemas.microsoft.com/office/drawing/2014/main" id="{28C94961-CDAA-435E-B847-003565638E2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73741" y="2681716"/>
              <a:ext cx="466859" cy="466859"/>
            </a:xfrm>
            <a:prstGeom prst="rect">
              <a:avLst/>
            </a:prstGeom>
          </p:spPr>
        </p:pic>
      </p:grpSp>
      <p:sp>
        <p:nvSpPr>
          <p:cNvPr id="69" name="Rectangle: Rounded Corners 215">
            <a:extLst>
              <a:ext uri="{FF2B5EF4-FFF2-40B4-BE49-F238E27FC236}">
                <a16:creationId xmlns:a16="http://schemas.microsoft.com/office/drawing/2014/main" id="{214FC684-861D-40F2-8D50-943422A9B2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443694" y="2750711"/>
            <a:ext cx="1202607" cy="997037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pSp>
        <p:nvGrpSpPr>
          <p:cNvPr id="8" name="Grupp 7" descr="Myndigheter, civilsamhälle och näringsliv som tar fram kunskap.">
            <a:extLst>
              <a:ext uri="{FF2B5EF4-FFF2-40B4-BE49-F238E27FC236}">
                <a16:creationId xmlns:a16="http://schemas.microsoft.com/office/drawing/2014/main" id="{F2528BD5-6B34-47A7-AA11-F6C0473CFA9A}"/>
              </a:ext>
            </a:extLst>
          </p:cNvPr>
          <p:cNvGrpSpPr/>
          <p:nvPr/>
        </p:nvGrpSpPr>
        <p:grpSpPr>
          <a:xfrm>
            <a:off x="7510104" y="2689498"/>
            <a:ext cx="479490" cy="1111622"/>
            <a:chOff x="5639068" y="1459116"/>
            <a:chExt cx="479490" cy="1111622"/>
          </a:xfrm>
        </p:grpSpPr>
        <p:grpSp>
          <p:nvGrpSpPr>
            <p:cNvPr id="7" name="Grupp 6">
              <a:extLst>
                <a:ext uri="{FF2B5EF4-FFF2-40B4-BE49-F238E27FC236}">
                  <a16:creationId xmlns:a16="http://schemas.microsoft.com/office/drawing/2014/main" id="{93B14F52-2C32-411D-A809-098C4DB0F2CE}"/>
                </a:ext>
              </a:extLst>
            </p:cNvPr>
            <p:cNvGrpSpPr/>
            <p:nvPr/>
          </p:nvGrpSpPr>
          <p:grpSpPr>
            <a:xfrm>
              <a:off x="5639068" y="1801900"/>
              <a:ext cx="479490" cy="768838"/>
              <a:chOff x="5639068" y="1801900"/>
              <a:chExt cx="479490" cy="768838"/>
            </a:xfrm>
          </p:grpSpPr>
          <p:pic>
            <p:nvPicPr>
              <p:cNvPr id="71" name="Picture 216">
                <a:extLst>
                  <a:ext uri="{FF2B5EF4-FFF2-40B4-BE49-F238E27FC236}">
                    <a16:creationId xmlns:a16="http://schemas.microsoft.com/office/drawing/2014/main" id="{091101CF-58D6-46C5-8B52-CA6BD812413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screen">
                <a:duotone>
                  <a:srgbClr val="5BA6C1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651699" y="2103879"/>
                <a:ext cx="466859" cy="466859"/>
              </a:xfrm>
              <a:prstGeom prst="rect">
                <a:avLst/>
              </a:prstGeom>
            </p:spPr>
          </p:pic>
          <p:pic>
            <p:nvPicPr>
              <p:cNvPr id="72" name="Picture 218">
                <a:extLst>
                  <a:ext uri="{FF2B5EF4-FFF2-40B4-BE49-F238E27FC236}">
                    <a16:creationId xmlns:a16="http://schemas.microsoft.com/office/drawing/2014/main" id="{6DAAEF07-2D77-48EC-8BE2-7B9FC49E4CE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screen">
                <a:duotone>
                  <a:srgbClr val="862B56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639068" y="1801900"/>
                <a:ext cx="466859" cy="466859"/>
              </a:xfrm>
              <a:prstGeom prst="rect">
                <a:avLst/>
              </a:prstGeom>
            </p:spPr>
          </p:pic>
        </p:grpSp>
        <p:pic>
          <p:nvPicPr>
            <p:cNvPr id="76" name="Picture 217">
              <a:extLst>
                <a:ext uri="{FF2B5EF4-FFF2-40B4-BE49-F238E27FC236}">
                  <a16:creationId xmlns:a16="http://schemas.microsoft.com/office/drawing/2014/main" id="{58830E96-3647-46B2-B1C8-C209D3E17F2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51699" y="1459116"/>
              <a:ext cx="466859" cy="466859"/>
            </a:xfrm>
            <a:prstGeom prst="rect">
              <a:avLst/>
            </a:prstGeom>
          </p:spPr>
        </p:pic>
      </p:grpSp>
      <p:grpSp>
        <p:nvGrpSpPr>
          <p:cNvPr id="9" name="Grupp 8" descr="Civilsamhälle och regioner/kommuner som genomför insatser.">
            <a:extLst>
              <a:ext uri="{FF2B5EF4-FFF2-40B4-BE49-F238E27FC236}">
                <a16:creationId xmlns:a16="http://schemas.microsoft.com/office/drawing/2014/main" id="{B2E2E57B-BFDD-441A-9843-8E3E4AB8E37E}"/>
              </a:ext>
            </a:extLst>
          </p:cNvPr>
          <p:cNvGrpSpPr/>
          <p:nvPr/>
        </p:nvGrpSpPr>
        <p:grpSpPr>
          <a:xfrm>
            <a:off x="8138793" y="2977842"/>
            <a:ext cx="296438" cy="566463"/>
            <a:chOff x="6242429" y="61272"/>
            <a:chExt cx="296438" cy="566463"/>
          </a:xfrm>
        </p:grpSpPr>
        <p:pic>
          <p:nvPicPr>
            <p:cNvPr id="74" name="Picture 220">
              <a:extLst>
                <a:ext uri="{FF2B5EF4-FFF2-40B4-BE49-F238E27FC236}">
                  <a16:creationId xmlns:a16="http://schemas.microsoft.com/office/drawing/2014/main" id="{7285230B-D026-4946-A93B-0F46BC430F1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duotone>
                <a:srgbClr val="862B56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242429" y="61272"/>
              <a:ext cx="287506" cy="254250"/>
            </a:xfrm>
            <a:prstGeom prst="rect">
              <a:avLst/>
            </a:prstGeom>
          </p:spPr>
        </p:pic>
        <p:pic>
          <p:nvPicPr>
            <p:cNvPr id="75" name="Picture 221">
              <a:extLst>
                <a:ext uri="{FF2B5EF4-FFF2-40B4-BE49-F238E27FC236}">
                  <a16:creationId xmlns:a16="http://schemas.microsoft.com/office/drawing/2014/main" id="{E064ABE9-41F8-4D94-B5EF-7F272145768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251361" y="373485"/>
              <a:ext cx="287506" cy="254250"/>
            </a:xfrm>
            <a:prstGeom prst="rect">
              <a:avLst/>
            </a:prstGeom>
          </p:spPr>
        </p:pic>
      </p:grpSp>
      <p:sp>
        <p:nvSpPr>
          <p:cNvPr id="87" name="Rectangle: Rounded Corners 229">
            <a:extLst>
              <a:ext uri="{FF2B5EF4-FFF2-40B4-BE49-F238E27FC236}">
                <a16:creationId xmlns:a16="http://schemas.microsoft.com/office/drawing/2014/main" id="{4140E147-C53C-478A-A67A-A87F2D56F4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783289" y="2769761"/>
            <a:ext cx="1778324" cy="997037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pSp>
        <p:nvGrpSpPr>
          <p:cNvPr id="88" name="Grupp 87" descr="Näringsliv och civilsamhälle som genomför/testar insatser samt sprider kunskaper och insatser.">
            <a:extLst>
              <a:ext uri="{FF2B5EF4-FFF2-40B4-BE49-F238E27FC236}">
                <a16:creationId xmlns:a16="http://schemas.microsoft.com/office/drawing/2014/main" id="{22BBBBD4-2F0E-42EB-88B7-6791565E84D8}"/>
              </a:ext>
            </a:extLst>
          </p:cNvPr>
          <p:cNvGrpSpPr/>
          <p:nvPr/>
        </p:nvGrpSpPr>
        <p:grpSpPr>
          <a:xfrm>
            <a:off x="8877431" y="2902862"/>
            <a:ext cx="1523330" cy="628021"/>
            <a:chOff x="8594851" y="2381327"/>
            <a:chExt cx="1523330" cy="628021"/>
          </a:xfrm>
        </p:grpSpPr>
        <p:pic>
          <p:nvPicPr>
            <p:cNvPr id="99" name="Picture 231">
              <a:extLst>
                <a:ext uri="{FF2B5EF4-FFF2-40B4-BE49-F238E27FC236}">
                  <a16:creationId xmlns:a16="http://schemas.microsoft.com/office/drawing/2014/main" id="{82A320F9-1DDC-43C3-A909-D7857D2D009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duotone>
                <a:srgbClr val="862B56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594851" y="2395348"/>
              <a:ext cx="287506" cy="254250"/>
            </a:xfrm>
            <a:prstGeom prst="rect">
              <a:avLst/>
            </a:prstGeom>
          </p:spPr>
        </p:pic>
        <p:pic>
          <p:nvPicPr>
            <p:cNvPr id="102" name="Picture 234">
              <a:extLst>
                <a:ext uri="{FF2B5EF4-FFF2-40B4-BE49-F238E27FC236}">
                  <a16:creationId xmlns:a16="http://schemas.microsoft.com/office/drawing/2014/main" id="{9C944758-495C-4754-A5AA-41C1BA078A5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duotone>
                <a:srgbClr val="862B56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036723" y="2381327"/>
              <a:ext cx="287506" cy="287506"/>
            </a:xfrm>
            <a:prstGeom prst="rect">
              <a:avLst/>
            </a:prstGeom>
          </p:spPr>
        </p:pic>
        <p:pic>
          <p:nvPicPr>
            <p:cNvPr id="103" name="Picture 235">
              <a:extLst>
                <a:ext uri="{FF2B5EF4-FFF2-40B4-BE49-F238E27FC236}">
                  <a16:creationId xmlns:a16="http://schemas.microsoft.com/office/drawing/2014/main" id="{8B34E4C2-C9B7-4EDB-8CAC-B2138A4EBF9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duotone>
                <a:srgbClr val="5BA6C1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046662" y="2721842"/>
              <a:ext cx="287506" cy="287506"/>
            </a:xfrm>
            <a:prstGeom prst="rect">
              <a:avLst/>
            </a:prstGeom>
          </p:spPr>
        </p:pic>
        <p:pic>
          <p:nvPicPr>
            <p:cNvPr id="106" name="Picture 236">
              <a:extLst>
                <a:ext uri="{FF2B5EF4-FFF2-40B4-BE49-F238E27FC236}">
                  <a16:creationId xmlns:a16="http://schemas.microsoft.com/office/drawing/2014/main" id="{D4B6AE8F-039D-4078-82A8-EF3A210E96A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duotone>
                <a:srgbClr val="5BA6C1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611520" y="2749095"/>
              <a:ext cx="287506" cy="254250"/>
            </a:xfrm>
            <a:prstGeom prst="rect">
              <a:avLst/>
            </a:prstGeom>
          </p:spPr>
        </p:pic>
        <p:pic>
          <p:nvPicPr>
            <p:cNvPr id="107" name="Picture 237">
              <a:extLst>
                <a:ext uri="{FF2B5EF4-FFF2-40B4-BE49-F238E27FC236}">
                  <a16:creationId xmlns:a16="http://schemas.microsoft.com/office/drawing/2014/main" id="{6FC822C4-CE11-4687-9039-4CF085DBA26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duotone>
                <a:srgbClr val="862B56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23760" y="2381327"/>
              <a:ext cx="287506" cy="287506"/>
            </a:xfrm>
            <a:prstGeom prst="rect">
              <a:avLst/>
            </a:prstGeom>
          </p:spPr>
        </p:pic>
        <p:pic>
          <p:nvPicPr>
            <p:cNvPr id="108" name="Picture 238">
              <a:extLst>
                <a:ext uri="{FF2B5EF4-FFF2-40B4-BE49-F238E27FC236}">
                  <a16:creationId xmlns:a16="http://schemas.microsoft.com/office/drawing/2014/main" id="{35AB827F-2186-4E7C-9CBF-29053F6459E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duotone>
                <a:srgbClr val="5BA6C1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33699" y="2721842"/>
              <a:ext cx="287506" cy="287506"/>
            </a:xfrm>
            <a:prstGeom prst="rect">
              <a:avLst/>
            </a:prstGeom>
          </p:spPr>
        </p:pic>
        <p:pic>
          <p:nvPicPr>
            <p:cNvPr id="109" name="Picture 239">
              <a:extLst>
                <a:ext uri="{FF2B5EF4-FFF2-40B4-BE49-F238E27FC236}">
                  <a16:creationId xmlns:a16="http://schemas.microsoft.com/office/drawing/2014/main" id="{C7E6A938-0C87-47D0-864C-BCAA59184F4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duotone>
                <a:srgbClr val="862B56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820736" y="2381327"/>
              <a:ext cx="287506" cy="287506"/>
            </a:xfrm>
            <a:prstGeom prst="rect">
              <a:avLst/>
            </a:prstGeom>
          </p:spPr>
        </p:pic>
        <p:pic>
          <p:nvPicPr>
            <p:cNvPr id="110" name="Picture 240">
              <a:extLst>
                <a:ext uri="{FF2B5EF4-FFF2-40B4-BE49-F238E27FC236}">
                  <a16:creationId xmlns:a16="http://schemas.microsoft.com/office/drawing/2014/main" id="{BB5926A1-4301-4A58-875E-BC9A96EFD18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duotone>
                <a:srgbClr val="5BA6C1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830675" y="2721842"/>
              <a:ext cx="287506" cy="287506"/>
            </a:xfrm>
            <a:prstGeom prst="rect">
              <a:avLst/>
            </a:prstGeom>
          </p:spPr>
        </p:pic>
      </p:grpSp>
      <p:sp>
        <p:nvSpPr>
          <p:cNvPr id="131" name="Rectangle 213">
            <a:extLst>
              <a:ext uri="{FF2B5EF4-FFF2-40B4-BE49-F238E27FC236}">
                <a16:creationId xmlns:a16="http://schemas.microsoft.com/office/drawing/2014/main" id="{215E3699-CB17-43B0-8F55-04EBC77DAAD0}"/>
              </a:ext>
            </a:extLst>
          </p:cNvPr>
          <p:cNvSpPr/>
          <p:nvPr/>
        </p:nvSpPr>
        <p:spPr>
          <a:xfrm>
            <a:off x="6088400" y="3828706"/>
            <a:ext cx="4802109" cy="2526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2. Individer som är rustade för att nå sin fulla potential och välmående</a:t>
            </a:r>
          </a:p>
        </p:txBody>
      </p:sp>
      <p:sp>
        <p:nvSpPr>
          <p:cNvPr id="132" name="Rectangle: Rounded Corners 288">
            <a:extLst>
              <a:ext uri="{FF2B5EF4-FFF2-40B4-BE49-F238E27FC236}">
                <a16:creationId xmlns:a16="http://schemas.microsoft.com/office/drawing/2014/main" id="{6E0D3889-3474-474C-A663-22B76C751C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388673" y="4058856"/>
            <a:ext cx="2057068" cy="370520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33" name="Rectangle: Rounded Corners 267">
            <a:extLst>
              <a:ext uri="{FF2B5EF4-FFF2-40B4-BE49-F238E27FC236}">
                <a16:creationId xmlns:a16="http://schemas.microsoft.com/office/drawing/2014/main" id="{A666DED1-0D18-423E-8577-09FF2F342F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388673" y="4476996"/>
            <a:ext cx="2057068" cy="419375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pSp>
        <p:nvGrpSpPr>
          <p:cNvPr id="138" name="Grupp 137" descr="Regioner/kommuner, näringsliv och civilsamhälle som genomför och testar insatser">
            <a:extLst>
              <a:ext uri="{FF2B5EF4-FFF2-40B4-BE49-F238E27FC236}">
                <a16:creationId xmlns:a16="http://schemas.microsoft.com/office/drawing/2014/main" id="{074B4921-2116-4928-83EC-592FE1720755}"/>
              </a:ext>
            </a:extLst>
          </p:cNvPr>
          <p:cNvGrpSpPr/>
          <p:nvPr/>
        </p:nvGrpSpPr>
        <p:grpSpPr>
          <a:xfrm>
            <a:off x="6533081" y="4151431"/>
            <a:ext cx="1652819" cy="254250"/>
            <a:chOff x="6391966" y="3486205"/>
            <a:chExt cx="1652819" cy="254250"/>
          </a:xfrm>
        </p:grpSpPr>
        <p:pic>
          <p:nvPicPr>
            <p:cNvPr id="139" name="Picture 264">
              <a:extLst>
                <a:ext uri="{FF2B5EF4-FFF2-40B4-BE49-F238E27FC236}">
                  <a16:creationId xmlns:a16="http://schemas.microsoft.com/office/drawing/2014/main" id="{C84E88B1-D92A-4CE1-A053-324A6F493C6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duotone>
                <a:srgbClr val="862B56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391966" y="3486205"/>
              <a:ext cx="287506" cy="254250"/>
            </a:xfrm>
            <a:prstGeom prst="rect">
              <a:avLst/>
            </a:prstGeom>
          </p:spPr>
        </p:pic>
        <p:pic>
          <p:nvPicPr>
            <p:cNvPr id="140" name="Picture 265">
              <a:extLst>
                <a:ext uri="{FF2B5EF4-FFF2-40B4-BE49-F238E27FC236}">
                  <a16:creationId xmlns:a16="http://schemas.microsoft.com/office/drawing/2014/main" id="{EC46F2FE-64E3-41E2-81D3-361E9AD7A11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797744" y="3486205"/>
              <a:ext cx="287506" cy="254250"/>
            </a:xfrm>
            <a:prstGeom prst="rect">
              <a:avLst/>
            </a:prstGeom>
          </p:spPr>
        </p:pic>
        <p:pic>
          <p:nvPicPr>
            <p:cNvPr id="141" name="Picture 266">
              <a:extLst>
                <a:ext uri="{FF2B5EF4-FFF2-40B4-BE49-F238E27FC236}">
                  <a16:creationId xmlns:a16="http://schemas.microsoft.com/office/drawing/2014/main" id="{7ACB26FE-8705-49FA-8B22-67B9F62F5C1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duotone>
                <a:srgbClr val="5BA6C1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757279" y="3486205"/>
              <a:ext cx="287506" cy="254250"/>
            </a:xfrm>
            <a:prstGeom prst="rect">
              <a:avLst/>
            </a:prstGeom>
          </p:spPr>
        </p:pic>
        <p:pic>
          <p:nvPicPr>
            <p:cNvPr id="142" name="Picture 272">
              <a:extLst>
                <a:ext uri="{FF2B5EF4-FFF2-40B4-BE49-F238E27FC236}">
                  <a16:creationId xmlns:a16="http://schemas.microsoft.com/office/drawing/2014/main" id="{5834E7B7-8CD5-4DB3-B43C-C9F64D91865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266177" y="3486205"/>
              <a:ext cx="287506" cy="254250"/>
            </a:xfrm>
            <a:prstGeom prst="rect">
              <a:avLst/>
            </a:prstGeom>
          </p:spPr>
        </p:pic>
      </p:grpSp>
      <p:grpSp>
        <p:nvGrpSpPr>
          <p:cNvPr id="134" name="Grupp 133" descr="Myndigheter som tar fram kunskap">
            <a:extLst>
              <a:ext uri="{FF2B5EF4-FFF2-40B4-BE49-F238E27FC236}">
                <a16:creationId xmlns:a16="http://schemas.microsoft.com/office/drawing/2014/main" id="{B115455C-49E8-4B55-ADD0-73AC20EC9854}"/>
              </a:ext>
            </a:extLst>
          </p:cNvPr>
          <p:cNvGrpSpPr/>
          <p:nvPr/>
        </p:nvGrpSpPr>
        <p:grpSpPr>
          <a:xfrm>
            <a:off x="6492702" y="4440348"/>
            <a:ext cx="1773474" cy="466859"/>
            <a:chOff x="6351587" y="3775122"/>
            <a:chExt cx="1773474" cy="466859"/>
          </a:xfrm>
        </p:grpSpPr>
        <p:pic>
          <p:nvPicPr>
            <p:cNvPr id="135" name="Picture 268">
              <a:extLst>
                <a:ext uri="{FF2B5EF4-FFF2-40B4-BE49-F238E27FC236}">
                  <a16:creationId xmlns:a16="http://schemas.microsoft.com/office/drawing/2014/main" id="{9DC4F006-D28F-49BA-B864-0092ADD182F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51587" y="3775122"/>
              <a:ext cx="466859" cy="466859"/>
            </a:xfrm>
            <a:prstGeom prst="rect">
              <a:avLst/>
            </a:prstGeom>
          </p:spPr>
        </p:pic>
        <p:pic>
          <p:nvPicPr>
            <p:cNvPr id="136" name="Picture 269">
              <a:extLst>
                <a:ext uri="{FF2B5EF4-FFF2-40B4-BE49-F238E27FC236}">
                  <a16:creationId xmlns:a16="http://schemas.microsoft.com/office/drawing/2014/main" id="{9897DAFF-C473-495C-989C-0AE88507E2E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002348" y="3775122"/>
              <a:ext cx="466859" cy="466859"/>
            </a:xfrm>
            <a:prstGeom prst="rect">
              <a:avLst/>
            </a:prstGeom>
          </p:spPr>
        </p:pic>
        <p:pic>
          <p:nvPicPr>
            <p:cNvPr id="137" name="Picture 270">
              <a:extLst>
                <a:ext uri="{FF2B5EF4-FFF2-40B4-BE49-F238E27FC236}">
                  <a16:creationId xmlns:a16="http://schemas.microsoft.com/office/drawing/2014/main" id="{AAFCE6D8-DDC7-4DF4-A157-08302C8C168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58202" y="3775122"/>
              <a:ext cx="466859" cy="466859"/>
            </a:xfrm>
            <a:prstGeom prst="rect">
              <a:avLst/>
            </a:prstGeom>
          </p:spPr>
        </p:pic>
      </p:grpSp>
      <p:sp>
        <p:nvSpPr>
          <p:cNvPr id="143" name="Rectangle: Rounded Corners 253">
            <a:extLst>
              <a:ext uri="{FF2B5EF4-FFF2-40B4-BE49-F238E27FC236}">
                <a16:creationId xmlns:a16="http://schemas.microsoft.com/office/drawing/2014/main" id="{B86D382B-537F-4631-A949-B3E4C1372A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750028" y="4059245"/>
            <a:ext cx="1872039" cy="848702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pSp>
        <p:nvGrpSpPr>
          <p:cNvPr id="144" name="Grupp 143" descr="Myndigheter och regioner/kommuner som tar fram kunskap och sprider kunskap och insatser">
            <a:extLst>
              <a:ext uri="{FF2B5EF4-FFF2-40B4-BE49-F238E27FC236}">
                <a16:creationId xmlns:a16="http://schemas.microsoft.com/office/drawing/2014/main" id="{86B6A483-2B0F-41B4-BEE0-E45B0022F020}"/>
              </a:ext>
            </a:extLst>
          </p:cNvPr>
          <p:cNvGrpSpPr/>
          <p:nvPr/>
        </p:nvGrpSpPr>
        <p:grpSpPr>
          <a:xfrm>
            <a:off x="9036834" y="4062533"/>
            <a:ext cx="1314579" cy="801218"/>
            <a:chOff x="8693799" y="3362987"/>
            <a:chExt cx="1314579" cy="801218"/>
          </a:xfrm>
        </p:grpSpPr>
        <p:pic>
          <p:nvPicPr>
            <p:cNvPr id="145" name="Picture 276">
              <a:extLst>
                <a:ext uri="{FF2B5EF4-FFF2-40B4-BE49-F238E27FC236}">
                  <a16:creationId xmlns:a16="http://schemas.microsoft.com/office/drawing/2014/main" id="{1C75ED2C-9E20-4E4C-ABA2-4ED566BC9F0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98346" y="3876699"/>
              <a:ext cx="287506" cy="287506"/>
            </a:xfrm>
            <a:prstGeom prst="rect">
              <a:avLst/>
            </a:prstGeom>
          </p:spPr>
        </p:pic>
        <p:pic>
          <p:nvPicPr>
            <p:cNvPr id="146" name="Picture 277">
              <a:extLst>
                <a:ext uri="{FF2B5EF4-FFF2-40B4-BE49-F238E27FC236}">
                  <a16:creationId xmlns:a16="http://schemas.microsoft.com/office/drawing/2014/main" id="{28E13086-BC0B-456B-8F02-123E18FCA99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27965" y="3876699"/>
              <a:ext cx="287506" cy="287506"/>
            </a:xfrm>
            <a:prstGeom prst="rect">
              <a:avLst/>
            </a:prstGeom>
          </p:spPr>
        </p:pic>
        <p:pic>
          <p:nvPicPr>
            <p:cNvPr id="147" name="Picture 278">
              <a:extLst>
                <a:ext uri="{FF2B5EF4-FFF2-40B4-BE49-F238E27FC236}">
                  <a16:creationId xmlns:a16="http://schemas.microsoft.com/office/drawing/2014/main" id="{1E2C660B-F51B-4F1C-B5EA-98B41DABDCF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25575" y="3876699"/>
              <a:ext cx="287506" cy="287506"/>
            </a:xfrm>
            <a:prstGeom prst="rect">
              <a:avLst/>
            </a:prstGeom>
          </p:spPr>
        </p:pic>
        <p:pic>
          <p:nvPicPr>
            <p:cNvPr id="148" name="Picture 279">
              <a:extLst>
                <a:ext uri="{FF2B5EF4-FFF2-40B4-BE49-F238E27FC236}">
                  <a16:creationId xmlns:a16="http://schemas.microsoft.com/office/drawing/2014/main" id="{CFE9BF56-5658-4330-B07F-489D4BD6316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93799" y="3440574"/>
              <a:ext cx="287506" cy="287506"/>
            </a:xfrm>
            <a:prstGeom prst="rect">
              <a:avLst/>
            </a:prstGeom>
          </p:spPr>
        </p:pic>
        <p:pic>
          <p:nvPicPr>
            <p:cNvPr id="149" name="Picture 280">
              <a:extLst>
                <a:ext uri="{FF2B5EF4-FFF2-40B4-BE49-F238E27FC236}">
                  <a16:creationId xmlns:a16="http://schemas.microsoft.com/office/drawing/2014/main" id="{D7112471-346C-4446-A625-40D8C3FB8AC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21782" y="3440574"/>
              <a:ext cx="287506" cy="287506"/>
            </a:xfrm>
            <a:prstGeom prst="rect">
              <a:avLst/>
            </a:prstGeom>
          </p:spPr>
        </p:pic>
        <p:pic>
          <p:nvPicPr>
            <p:cNvPr id="150" name="Picture 282">
              <a:extLst>
                <a:ext uri="{FF2B5EF4-FFF2-40B4-BE49-F238E27FC236}">
                  <a16:creationId xmlns:a16="http://schemas.microsoft.com/office/drawing/2014/main" id="{BB4DCB44-7E4F-4F75-84EF-8B998946FAE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41519" y="3362987"/>
              <a:ext cx="466859" cy="466859"/>
            </a:xfrm>
            <a:prstGeom prst="rect">
              <a:avLst/>
            </a:prstGeom>
          </p:spPr>
        </p:pic>
      </p:grpSp>
      <p:sp>
        <p:nvSpPr>
          <p:cNvPr id="151" name="Rectangle 214">
            <a:extLst>
              <a:ext uri="{FF2B5EF4-FFF2-40B4-BE49-F238E27FC236}">
                <a16:creationId xmlns:a16="http://schemas.microsoft.com/office/drawing/2014/main" id="{9EE2182F-9CDA-490C-9FB5-0E26069E3A61}"/>
              </a:ext>
            </a:extLst>
          </p:cNvPr>
          <p:cNvSpPr/>
          <p:nvPr/>
        </p:nvSpPr>
        <p:spPr>
          <a:xfrm>
            <a:off x="6088400" y="4990913"/>
            <a:ext cx="3314104" cy="260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. Hållbara stöd till de som behöver </a:t>
            </a:r>
            <a:endParaRPr kumimoji="0" lang="sv-SE" sz="105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0" name="Rectangle: Rounded Corners 248">
            <a:extLst>
              <a:ext uri="{FF2B5EF4-FFF2-40B4-BE49-F238E27FC236}">
                <a16:creationId xmlns:a16="http://schemas.microsoft.com/office/drawing/2014/main" id="{CDE81BF9-8106-4AD6-8402-BD8E345A17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384760" y="5231052"/>
            <a:ext cx="994999" cy="798895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pSp>
        <p:nvGrpSpPr>
          <p:cNvPr id="161" name="Grupp 160" descr="Regioner/kommuner samt civilsamhälle som sprider kunskaper/insatser">
            <a:extLst>
              <a:ext uri="{FF2B5EF4-FFF2-40B4-BE49-F238E27FC236}">
                <a16:creationId xmlns:a16="http://schemas.microsoft.com/office/drawing/2014/main" id="{BBFF2B8E-63C1-4749-93DF-476EDC5C2DA3}"/>
              </a:ext>
            </a:extLst>
          </p:cNvPr>
          <p:cNvGrpSpPr/>
          <p:nvPr/>
        </p:nvGrpSpPr>
        <p:grpSpPr>
          <a:xfrm>
            <a:off x="6437738" y="5319169"/>
            <a:ext cx="713986" cy="599441"/>
            <a:chOff x="6391966" y="4664644"/>
            <a:chExt cx="713986" cy="599441"/>
          </a:xfrm>
        </p:grpSpPr>
        <p:pic>
          <p:nvPicPr>
            <p:cNvPr id="162" name="Picture 283">
              <a:extLst>
                <a:ext uri="{FF2B5EF4-FFF2-40B4-BE49-F238E27FC236}">
                  <a16:creationId xmlns:a16="http://schemas.microsoft.com/office/drawing/2014/main" id="{C4F63A0E-C075-44D2-BAC4-08310B61792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391966" y="4664644"/>
              <a:ext cx="287506" cy="254250"/>
            </a:xfrm>
            <a:prstGeom prst="rect">
              <a:avLst/>
            </a:prstGeom>
          </p:spPr>
        </p:pic>
        <p:pic>
          <p:nvPicPr>
            <p:cNvPr id="163" name="Picture 284">
              <a:extLst>
                <a:ext uri="{FF2B5EF4-FFF2-40B4-BE49-F238E27FC236}">
                  <a16:creationId xmlns:a16="http://schemas.microsoft.com/office/drawing/2014/main" id="{3E64FB70-F215-4881-A3DF-45C23B1C3BB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818446" y="4664644"/>
              <a:ext cx="287506" cy="254250"/>
            </a:xfrm>
            <a:prstGeom prst="rect">
              <a:avLst/>
            </a:prstGeom>
          </p:spPr>
        </p:pic>
        <p:pic>
          <p:nvPicPr>
            <p:cNvPr id="164" name="Picture 285">
              <a:extLst>
                <a:ext uri="{FF2B5EF4-FFF2-40B4-BE49-F238E27FC236}">
                  <a16:creationId xmlns:a16="http://schemas.microsoft.com/office/drawing/2014/main" id="{34E7058D-7202-4F28-85B7-6C127903A6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818446" y="4996082"/>
              <a:ext cx="287506" cy="254250"/>
            </a:xfrm>
            <a:prstGeom prst="rect">
              <a:avLst/>
            </a:prstGeom>
          </p:spPr>
        </p:pic>
        <p:pic>
          <p:nvPicPr>
            <p:cNvPr id="165" name="Picture 286">
              <a:extLst>
                <a:ext uri="{FF2B5EF4-FFF2-40B4-BE49-F238E27FC236}">
                  <a16:creationId xmlns:a16="http://schemas.microsoft.com/office/drawing/2014/main" id="{D58DF374-B786-44F3-99AD-F426DD373F4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duotone>
                <a:srgbClr val="862B56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391966" y="5009835"/>
              <a:ext cx="287506" cy="254250"/>
            </a:xfrm>
            <a:prstGeom prst="rect">
              <a:avLst/>
            </a:prstGeom>
          </p:spPr>
        </p:pic>
      </p:grpSp>
      <p:sp>
        <p:nvSpPr>
          <p:cNvPr id="166" name="Rectangle: Rounded Corners 291">
            <a:extLst>
              <a:ext uri="{FF2B5EF4-FFF2-40B4-BE49-F238E27FC236}">
                <a16:creationId xmlns:a16="http://schemas.microsoft.com/office/drawing/2014/main" id="{2F305B38-E490-4050-9165-93CFFE92A6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590498" y="5238392"/>
            <a:ext cx="2857456" cy="447597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pSp>
        <p:nvGrpSpPr>
          <p:cNvPr id="167" name="Grupp 166" descr="Myndigheter, regioner/kommuner som tar fram kunskap och sprider kunskap/insatser">
            <a:extLst>
              <a:ext uri="{FF2B5EF4-FFF2-40B4-BE49-F238E27FC236}">
                <a16:creationId xmlns:a16="http://schemas.microsoft.com/office/drawing/2014/main" id="{CC81C9A2-4F5B-43B7-9557-AB9CE2CF11E8}"/>
              </a:ext>
            </a:extLst>
          </p:cNvPr>
          <p:cNvGrpSpPr/>
          <p:nvPr/>
        </p:nvGrpSpPr>
        <p:grpSpPr>
          <a:xfrm>
            <a:off x="7715936" y="5189307"/>
            <a:ext cx="2435922" cy="473910"/>
            <a:chOff x="7639253" y="4470208"/>
            <a:chExt cx="2435922" cy="473910"/>
          </a:xfrm>
        </p:grpSpPr>
        <p:pic>
          <p:nvPicPr>
            <p:cNvPr id="168" name="Picture 297">
              <a:extLst>
                <a:ext uri="{FF2B5EF4-FFF2-40B4-BE49-F238E27FC236}">
                  <a16:creationId xmlns:a16="http://schemas.microsoft.com/office/drawing/2014/main" id="{715A0505-ACFB-41D6-BF5E-DEEDE35B951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39253" y="4470208"/>
              <a:ext cx="466859" cy="466859"/>
            </a:xfrm>
            <a:prstGeom prst="rect">
              <a:avLst/>
            </a:prstGeom>
          </p:spPr>
        </p:pic>
        <p:pic>
          <p:nvPicPr>
            <p:cNvPr id="169" name="Picture 298">
              <a:extLst>
                <a:ext uri="{FF2B5EF4-FFF2-40B4-BE49-F238E27FC236}">
                  <a16:creationId xmlns:a16="http://schemas.microsoft.com/office/drawing/2014/main" id="{0BFCF6C6-1268-4451-9057-20904984DC3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87842" y="4470208"/>
              <a:ext cx="466859" cy="466859"/>
            </a:xfrm>
            <a:prstGeom prst="rect">
              <a:avLst/>
            </a:prstGeom>
          </p:spPr>
        </p:pic>
        <p:pic>
          <p:nvPicPr>
            <p:cNvPr id="170" name="Picture 299">
              <a:extLst>
                <a:ext uri="{FF2B5EF4-FFF2-40B4-BE49-F238E27FC236}">
                  <a16:creationId xmlns:a16="http://schemas.microsoft.com/office/drawing/2014/main" id="{910E36BA-5062-4374-BFCF-645F71F5462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39645" y="4477259"/>
              <a:ext cx="466859" cy="466859"/>
            </a:xfrm>
            <a:prstGeom prst="rect">
              <a:avLst/>
            </a:prstGeom>
          </p:spPr>
        </p:pic>
        <p:pic>
          <p:nvPicPr>
            <p:cNvPr id="171" name="Picture 300">
              <a:extLst>
                <a:ext uri="{FF2B5EF4-FFF2-40B4-BE49-F238E27FC236}">
                  <a16:creationId xmlns:a16="http://schemas.microsoft.com/office/drawing/2014/main" id="{68B19718-6245-452F-AD38-DE2AC8DE8A0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236186" y="4477259"/>
              <a:ext cx="466859" cy="466859"/>
            </a:xfrm>
            <a:prstGeom prst="rect">
              <a:avLst/>
            </a:prstGeom>
          </p:spPr>
        </p:pic>
        <p:pic>
          <p:nvPicPr>
            <p:cNvPr id="172" name="Picture 301">
              <a:extLst>
                <a:ext uri="{FF2B5EF4-FFF2-40B4-BE49-F238E27FC236}">
                  <a16:creationId xmlns:a16="http://schemas.microsoft.com/office/drawing/2014/main" id="{704382DC-7B4E-4F2D-8F12-33F1F0E65FD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87669" y="4588278"/>
              <a:ext cx="287506" cy="287506"/>
            </a:xfrm>
            <a:prstGeom prst="rect">
              <a:avLst/>
            </a:prstGeom>
          </p:spPr>
        </p:pic>
      </p:grpSp>
      <p:sp>
        <p:nvSpPr>
          <p:cNvPr id="173" name="Rectangle: Rounded Corners 302">
            <a:extLst>
              <a:ext uri="{FF2B5EF4-FFF2-40B4-BE49-F238E27FC236}">
                <a16:creationId xmlns:a16="http://schemas.microsoft.com/office/drawing/2014/main" id="{24AC79FD-8032-4DAE-8A3C-6B6DB93E43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597296" y="5724612"/>
            <a:ext cx="2857456" cy="335364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pSp>
        <p:nvGrpSpPr>
          <p:cNvPr id="174" name="Grupp 173" descr="Myndigheter, regioner/kommuner och civilsamhälle som genomför och testar insatser.">
            <a:extLst>
              <a:ext uri="{FF2B5EF4-FFF2-40B4-BE49-F238E27FC236}">
                <a16:creationId xmlns:a16="http://schemas.microsoft.com/office/drawing/2014/main" id="{74C94FF2-2394-4415-BA1E-48ED0583613C}"/>
              </a:ext>
            </a:extLst>
          </p:cNvPr>
          <p:cNvGrpSpPr/>
          <p:nvPr/>
        </p:nvGrpSpPr>
        <p:grpSpPr>
          <a:xfrm>
            <a:off x="7783961" y="5748529"/>
            <a:ext cx="2186939" cy="266815"/>
            <a:chOff x="7742526" y="5050165"/>
            <a:chExt cx="2186939" cy="266815"/>
          </a:xfrm>
        </p:grpSpPr>
        <p:pic>
          <p:nvPicPr>
            <p:cNvPr id="175" name="Picture 305">
              <a:extLst>
                <a:ext uri="{FF2B5EF4-FFF2-40B4-BE49-F238E27FC236}">
                  <a16:creationId xmlns:a16="http://schemas.microsoft.com/office/drawing/2014/main" id="{0DB2ACCC-2397-4D21-96AA-7144B943104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742526" y="5055550"/>
              <a:ext cx="287506" cy="254250"/>
            </a:xfrm>
            <a:prstGeom prst="rect">
              <a:avLst/>
            </a:prstGeom>
          </p:spPr>
        </p:pic>
        <p:pic>
          <p:nvPicPr>
            <p:cNvPr id="176" name="Picture 306">
              <a:extLst>
                <a:ext uri="{FF2B5EF4-FFF2-40B4-BE49-F238E27FC236}">
                  <a16:creationId xmlns:a16="http://schemas.microsoft.com/office/drawing/2014/main" id="{A28BBABE-705F-4A4A-B1E2-EEB15AF9750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209936" y="5055550"/>
              <a:ext cx="287506" cy="254250"/>
            </a:xfrm>
            <a:prstGeom prst="rect">
              <a:avLst/>
            </a:prstGeom>
          </p:spPr>
        </p:pic>
        <p:pic>
          <p:nvPicPr>
            <p:cNvPr id="177" name="Picture 307">
              <a:extLst>
                <a:ext uri="{FF2B5EF4-FFF2-40B4-BE49-F238E27FC236}">
                  <a16:creationId xmlns:a16="http://schemas.microsoft.com/office/drawing/2014/main" id="{43085513-AC45-4BC3-9BCF-1A6AD50E806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685899" y="5055550"/>
              <a:ext cx="287506" cy="254250"/>
            </a:xfrm>
            <a:prstGeom prst="rect">
              <a:avLst/>
            </a:prstGeom>
          </p:spPr>
        </p:pic>
        <p:pic>
          <p:nvPicPr>
            <p:cNvPr id="178" name="Picture 308">
              <a:extLst>
                <a:ext uri="{FF2B5EF4-FFF2-40B4-BE49-F238E27FC236}">
                  <a16:creationId xmlns:a16="http://schemas.microsoft.com/office/drawing/2014/main" id="{73E12C52-9451-4972-9CA1-D36334BD41C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duotone>
                <a:srgbClr val="862B56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175434" y="5050165"/>
              <a:ext cx="287506" cy="254250"/>
            </a:xfrm>
            <a:prstGeom prst="rect">
              <a:avLst/>
            </a:prstGeom>
          </p:spPr>
        </p:pic>
        <p:pic>
          <p:nvPicPr>
            <p:cNvPr id="179" name="Picture 309">
              <a:extLst>
                <a:ext uri="{FF2B5EF4-FFF2-40B4-BE49-F238E27FC236}">
                  <a16:creationId xmlns:a16="http://schemas.microsoft.com/office/drawing/2014/main" id="{1783F3F7-B162-4C98-869C-4AE700FA337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duotone>
                <a:srgbClr val="862B56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641959" y="5062730"/>
              <a:ext cx="287506" cy="254250"/>
            </a:xfrm>
            <a:prstGeom prst="rect">
              <a:avLst/>
            </a:prstGeom>
          </p:spPr>
        </p:pic>
      </p:grpSp>
      <p:sp>
        <p:nvSpPr>
          <p:cNvPr id="62" name="Rectangle 228">
            <a:extLst>
              <a:ext uri="{FF2B5EF4-FFF2-40B4-BE49-F238E27FC236}">
                <a16:creationId xmlns:a16="http://schemas.microsoft.com/office/drawing/2014/main" id="{54D13E8C-99D8-44F5-9BC1-9364DA4DD22A}"/>
              </a:ext>
            </a:extLst>
          </p:cNvPr>
          <p:cNvSpPr/>
          <p:nvPr/>
        </p:nvSpPr>
        <p:spPr>
          <a:xfrm>
            <a:off x="10655781" y="4011464"/>
            <a:ext cx="1366031" cy="4732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 i="1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emensam målbild</a:t>
            </a:r>
            <a:endParaRPr kumimoji="0" lang="sv-SE" sz="12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78403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>
            <a:extLst>
              <a:ext uri="{FF2B5EF4-FFF2-40B4-BE49-F238E27FC236}">
                <a16:creationId xmlns:a16="http://schemas.microsoft.com/office/drawing/2014/main" id="{216A8AA8-2BD3-4410-B493-2353FBC1CB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3F1A56BA-A55C-43AB-A995-71563B2EAF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raftsamling psykisk hälsa syftar till ett långsiktigt och tvärsektoriellt arbete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0A8475C1-8666-41CF-9961-A0C23D123F3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9900" y="1460500"/>
            <a:ext cx="9524332" cy="4775200"/>
          </a:xfrm>
        </p:spPr>
        <p:txBody>
          <a:bodyPr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sykisk hälsa </a:t>
            </a: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åverkar</a:t>
            </a: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ch </a:t>
            </a: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åverkas</a:t>
            </a: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</a:t>
            </a: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amhällets alla delar. SKR har därför tagit initiativ till en </a:t>
            </a: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aftsamling för psykisk hälsa</a:t>
            </a: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som kommer att fungera som en samlande arena för ett långsiktigt och tvärsektoriellt utvecklingsarbete för en bättre psykisk hälsa.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sv-SE" sz="800" b="0" i="0" u="none" strike="noStrike" kern="1200" cap="none" spc="0" normalizeH="0" baseline="0" noProof="0" dirty="0">
              <a:ln>
                <a:noFill/>
              </a:ln>
              <a:solidFill>
                <a:srgbClr val="22222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"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aftsamlingens utgångspunkt är att psykisk hälsa </a:t>
            </a: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rör alla</a:t>
            </a: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och att lösningar därför måste vara </a:t>
            </a: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reda</a:t>
            </a: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ch </a:t>
            </a: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värsektoriella</a:t>
            </a: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Kraftsamlingen är öppen för medverkan för alla aktörer - offentliga, privata och från civilsamhället.</a:t>
            </a: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37829445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lowchart: Process 695">
            <a:extLst>
              <a:ext uri="{FF2B5EF4-FFF2-40B4-BE49-F238E27FC236}">
                <a16:creationId xmlns:a16="http://schemas.microsoft.com/office/drawing/2014/main" id="{204B6E63-0E9B-4328-986A-628A200313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55585" y="1855450"/>
            <a:ext cx="10882481" cy="4628675"/>
          </a:xfrm>
          <a:prstGeom prst="flowChartProcess">
            <a:avLst/>
          </a:prstGeom>
          <a:solidFill>
            <a:schemeClr val="bg1"/>
          </a:solidFill>
          <a:ln w="38100">
            <a:solidFill>
              <a:schemeClr val="accent3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0E0C0F82-0921-428E-BC18-2805DBE16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0293" y="774948"/>
            <a:ext cx="11581707" cy="714501"/>
          </a:xfrm>
        </p:spPr>
        <p:txBody>
          <a:bodyPr/>
          <a:lstStyle/>
          <a:p>
            <a:r>
              <a:rPr lang="sv-SE" sz="2800" dirty="0"/>
              <a:t>Delarenornas handslag bildar gemensamt Kraftsamlingens </a:t>
            </a:r>
            <a:br>
              <a:rPr lang="sv-SE" sz="2800" dirty="0"/>
            </a:br>
            <a:r>
              <a:rPr lang="sv-SE" sz="2800" dirty="0"/>
              <a:t>plan för ett långsiktigt gemensamt utvecklingsarbete 2020–2030</a:t>
            </a:r>
          </a:p>
        </p:txBody>
      </p:sp>
      <p:pic>
        <p:nvPicPr>
          <p:cNvPr id="6" name="Bildobjekt 5" descr="Pil som startar i de olika delaernorna och som går framåt mot en plan för långsiktigt gemensamt utvecklngsarbete 2020-2030.">
            <a:extLst>
              <a:ext uri="{FF2B5EF4-FFF2-40B4-BE49-F238E27FC236}">
                <a16:creationId xmlns:a16="http://schemas.microsoft.com/office/drawing/2014/main" id="{68E43C83-23E7-4CB6-8BF2-011649D794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61820" y="1927094"/>
            <a:ext cx="9676246" cy="4155958"/>
          </a:xfrm>
          <a:prstGeom prst="rect">
            <a:avLst/>
          </a:prstGeom>
        </p:spPr>
      </p:pic>
      <p:pic>
        <p:nvPicPr>
          <p:cNvPr id="7" name="Picture 6" descr="Tumnagel av visionen om ett handslag">
            <a:extLst>
              <a:ext uri="{FF2B5EF4-FFF2-40B4-BE49-F238E27FC236}">
                <a16:creationId xmlns:a16="http://schemas.microsoft.com/office/drawing/2014/main" id="{EA343F31-7ECC-402C-8E86-D62F476827C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93934" y="2123410"/>
            <a:ext cx="943700" cy="712610"/>
          </a:xfrm>
          <a:prstGeom prst="rect">
            <a:avLst/>
          </a:prstGeom>
        </p:spPr>
      </p:pic>
      <p:pic>
        <p:nvPicPr>
          <p:cNvPr id="8" name="Picture 845" descr="Tumnagel av visionen om ett handslag">
            <a:extLst>
              <a:ext uri="{FF2B5EF4-FFF2-40B4-BE49-F238E27FC236}">
                <a16:creationId xmlns:a16="http://schemas.microsoft.com/office/drawing/2014/main" id="{5D811AF1-DF30-4AAF-A573-403EC2E62F3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46097" y="2618828"/>
            <a:ext cx="943700" cy="712610"/>
          </a:xfrm>
          <a:prstGeom prst="rect">
            <a:avLst/>
          </a:prstGeom>
        </p:spPr>
      </p:pic>
      <p:pic>
        <p:nvPicPr>
          <p:cNvPr id="9" name="Picture 846" descr="Tumnagel av visionen om ett handslag">
            <a:extLst>
              <a:ext uri="{FF2B5EF4-FFF2-40B4-BE49-F238E27FC236}">
                <a16:creationId xmlns:a16="http://schemas.microsoft.com/office/drawing/2014/main" id="{9D404FE2-3186-4969-9B6C-5F9DD4259DC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1708" y="3573481"/>
            <a:ext cx="943700" cy="712610"/>
          </a:xfrm>
          <a:prstGeom prst="rect">
            <a:avLst/>
          </a:prstGeom>
        </p:spPr>
      </p:pic>
      <p:pic>
        <p:nvPicPr>
          <p:cNvPr id="10" name="Picture 846" descr="Tumnagel av visionen om ett handslag">
            <a:extLst>
              <a:ext uri="{FF2B5EF4-FFF2-40B4-BE49-F238E27FC236}">
                <a16:creationId xmlns:a16="http://schemas.microsoft.com/office/drawing/2014/main" id="{EF972328-5A0A-4F53-87BF-031884A382B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65584" y="4830721"/>
            <a:ext cx="943700" cy="712610"/>
          </a:xfrm>
          <a:prstGeom prst="rect">
            <a:avLst/>
          </a:prstGeom>
        </p:spPr>
      </p:pic>
      <p:pic>
        <p:nvPicPr>
          <p:cNvPr id="11" name="Picture 846" descr="Tumnagel av visionen om ett handslag">
            <a:extLst>
              <a:ext uri="{FF2B5EF4-FFF2-40B4-BE49-F238E27FC236}">
                <a16:creationId xmlns:a16="http://schemas.microsoft.com/office/drawing/2014/main" id="{3A8EE889-155B-46B0-8343-D1588592AAE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76499" y="5310571"/>
            <a:ext cx="943700" cy="712610"/>
          </a:xfrm>
          <a:prstGeom prst="rect">
            <a:avLst/>
          </a:prstGeom>
        </p:spPr>
      </p:pic>
      <p:pic>
        <p:nvPicPr>
          <p:cNvPr id="12" name="Picture 846" descr="Tumnagel av visionen om ett handslag">
            <a:extLst>
              <a:ext uri="{FF2B5EF4-FFF2-40B4-BE49-F238E27FC236}">
                <a16:creationId xmlns:a16="http://schemas.microsoft.com/office/drawing/2014/main" id="{6D3E160B-40F4-4D42-8A05-D9FB1D91B37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7869" y="5310571"/>
            <a:ext cx="943700" cy="712610"/>
          </a:xfrm>
          <a:prstGeom prst="rect">
            <a:avLst/>
          </a:prstGeom>
        </p:spPr>
      </p:pic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C4BB157-A014-41FE-8FBA-138278C32D3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868073" y="3247319"/>
            <a:ext cx="5072062" cy="2508831"/>
          </a:xfrm>
        </p:spPr>
        <p:txBody>
          <a:bodyPr/>
          <a:lstStyle/>
          <a:p>
            <a:r>
              <a:rPr lang="sv-SE" b="1" dirty="0">
                <a:latin typeface="+mn-lt"/>
              </a:rPr>
              <a:t>Kraftsamling psykisk hälsa:</a:t>
            </a:r>
            <a:br>
              <a:rPr lang="sv-SE" b="1" dirty="0"/>
            </a:br>
            <a:r>
              <a:rPr lang="sv-SE" b="1" dirty="0">
                <a:latin typeface="+mn-lt"/>
              </a:rPr>
              <a:t>Plan för långsiktigt gemensamt utvecklingsarbete </a:t>
            </a:r>
            <a:br>
              <a:rPr lang="sv-SE" b="1" dirty="0"/>
            </a:br>
            <a:r>
              <a:rPr lang="sv-SE" b="1" dirty="0"/>
              <a:t>2020–2030 </a:t>
            </a:r>
            <a:endParaRPr lang="sv-SE" b="1" dirty="0">
              <a:latin typeface="+mn-lt"/>
            </a:endParaRPr>
          </a:p>
          <a:p>
            <a:pPr marL="30163" indent="0">
              <a:buNone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71908493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6">
            <a:extLst>
              <a:ext uri="{FF2B5EF4-FFF2-40B4-BE49-F238E27FC236}">
                <a16:creationId xmlns:a16="http://schemas.microsoft.com/office/drawing/2014/main" id="{EB783BBD-33CB-4885-BD1D-585C31AD9F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06753" y="1605844"/>
            <a:ext cx="10969309" cy="5076496"/>
          </a:xfrm>
          <a:prstGeom prst="rect">
            <a:avLst/>
          </a:prstGeom>
          <a:solidFill>
            <a:schemeClr val="accent2">
              <a:lumMod val="20000"/>
              <a:lumOff val="80000"/>
              <a:alpha val="95690"/>
            </a:schemeClr>
          </a:solidFill>
          <a:ln w="38100" cap="flat" cmpd="sng">
            <a:solidFill>
              <a:schemeClr val="accent2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sv-SE" sz="146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0E0C0F82-0921-428E-BC18-2805DBE160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3200" dirty="0"/>
              <a:t>Hittills har nio handslagsdokument färdigställts och signerats </a:t>
            </a:r>
            <a:r>
              <a:rPr lang="sv-SE" sz="3200" b="0" dirty="0"/>
              <a:t>- vi ser fram emot att ännu fler tillkommer!</a:t>
            </a:r>
            <a:endParaRPr lang="sv-SE" dirty="0"/>
          </a:p>
        </p:txBody>
      </p:sp>
      <p:pic>
        <p:nvPicPr>
          <p:cNvPr id="15" name="Picture 28" descr="Gemensam arbetsplan för en fungerande skolgång för barn och unga med NPF, Version 1.0 - juni 2020. ">
            <a:extLst>
              <a:ext uri="{FF2B5EF4-FFF2-40B4-BE49-F238E27FC236}">
                <a16:creationId xmlns:a16="http://schemas.microsoft.com/office/drawing/2014/main" id="{3C4FB168-0D36-4AA9-846D-CC415A15093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3928" t="27162" r="60725" b="8888"/>
          <a:stretch/>
        </p:blipFill>
        <p:spPr>
          <a:xfrm>
            <a:off x="1167522" y="1783803"/>
            <a:ext cx="1628136" cy="231061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Picture 29" descr="Gemensam arbetsplan för meningsskapande i en sekulär tid. Version 1.0 - juni 2020. ">
            <a:extLst>
              <a:ext uri="{FF2B5EF4-FFF2-40B4-BE49-F238E27FC236}">
                <a16:creationId xmlns:a16="http://schemas.microsoft.com/office/drawing/2014/main" id="{13A7E6FD-4454-4B47-9225-00EC5D69500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152" t="25468" r="63259" b="10957"/>
          <a:stretch/>
        </p:blipFill>
        <p:spPr>
          <a:xfrm>
            <a:off x="3205025" y="1783802"/>
            <a:ext cx="1628136" cy="22754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30" descr="Gemensam arbetsplan för hälsofrämjande digitalt liv. Version 1.0 - juni 2020.">
            <a:extLst>
              <a:ext uri="{FF2B5EF4-FFF2-40B4-BE49-F238E27FC236}">
                <a16:creationId xmlns:a16="http://schemas.microsoft.com/office/drawing/2014/main" id="{C21C59F6-520F-4955-A432-E7CA60BA885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1039" t="25468" r="63338" b="11443"/>
          <a:stretch/>
        </p:blipFill>
        <p:spPr>
          <a:xfrm>
            <a:off x="7348539" y="1783803"/>
            <a:ext cx="1628136" cy="225497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8" name="Picture 31" descr="Gemensam arbetsplan för huskurer för psykisk hälsa. Version 1.0 - juni 2020. ">
            <a:extLst>
              <a:ext uri="{FF2B5EF4-FFF2-40B4-BE49-F238E27FC236}">
                <a16:creationId xmlns:a16="http://schemas.microsoft.com/office/drawing/2014/main" id="{CBC3638E-B600-4727-89C2-587155F4C11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0965" t="26434" r="63266" b="8943"/>
          <a:stretch/>
        </p:blipFill>
        <p:spPr>
          <a:xfrm>
            <a:off x="9396341" y="1783802"/>
            <a:ext cx="1628136" cy="229675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5" descr="Gemensam arbetsplan för hela samhällets suicidprevention. Version 1.1 - juni 2020">
            <a:extLst>
              <a:ext uri="{FF2B5EF4-FFF2-40B4-BE49-F238E27FC236}">
                <a16:creationId xmlns:a16="http://schemas.microsoft.com/office/drawing/2014/main" id="{17399C61-2C39-40C4-9A36-77B32740C4F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0982" t="18903" r="63304" b="17269"/>
          <a:stretch/>
        </p:blipFill>
        <p:spPr>
          <a:xfrm>
            <a:off x="5268934" y="1783803"/>
            <a:ext cx="1628136" cy="227324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0" name="Picture 2" descr="Gemensam arbetsplan för smart tillgänglighet i första linjen, 0-6 år. Version 1.0 - juni 2020. ">
            <a:extLst>
              <a:ext uri="{FF2B5EF4-FFF2-40B4-BE49-F238E27FC236}">
                <a16:creationId xmlns:a16="http://schemas.microsoft.com/office/drawing/2014/main" id="{94B8FCE5-F932-4796-B7D8-53C226C802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9868" y="4192014"/>
            <a:ext cx="1628136" cy="22386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4" descr="Gemensam arbetsplan för smart tillgänglighet i första linjen, unga vuxna. Version 1.0 - juni 2020. ">
            <a:extLst>
              <a:ext uri="{FF2B5EF4-FFF2-40B4-BE49-F238E27FC236}">
                <a16:creationId xmlns:a16="http://schemas.microsoft.com/office/drawing/2014/main" id="{FEBEBDD0-B759-46DD-A067-8C6F13693D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6354" y="4192016"/>
            <a:ext cx="1628136" cy="2312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7" descr="Gemensam arbetsplan för smart tillgänglighet i först linjen, 7-15 år. Version 2.0 - Augusti 2020">
            <a:extLst>
              <a:ext uri="{FF2B5EF4-FFF2-40B4-BE49-F238E27FC236}">
                <a16:creationId xmlns:a16="http://schemas.microsoft.com/office/drawing/2014/main" id="{FE2B2B23-31F2-4491-BA5E-76ABA6627176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0982" t="26508" r="63393" b="9047"/>
          <a:stretch/>
        </p:blipFill>
        <p:spPr>
          <a:xfrm>
            <a:off x="5310263" y="4192016"/>
            <a:ext cx="1628136" cy="230321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3" name="Picture 37" descr="Gemensam arbetsplan för samhällsmobilisering för narkotikaprevention. Version 1.1 - juni 2020">
            <a:extLst>
              <a:ext uri="{FF2B5EF4-FFF2-40B4-BE49-F238E27FC236}">
                <a16:creationId xmlns:a16="http://schemas.microsoft.com/office/drawing/2014/main" id="{FD562F19-E797-4A0D-A86C-4884A2298723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11121" t="27324" r="63189" b="8811"/>
          <a:stretch/>
        </p:blipFill>
        <p:spPr>
          <a:xfrm>
            <a:off x="1208851" y="4192014"/>
            <a:ext cx="1628136" cy="227675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47625462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B7E1CE0D-1BB1-47FC-A45E-C23385E1FF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559041"/>
            <a:ext cx="12191999" cy="1966912"/>
          </a:xfrm>
        </p:spPr>
        <p:txBody>
          <a:bodyPr/>
          <a:lstStyle/>
          <a:p>
            <a:pPr lvl="0">
              <a:lnSpc>
                <a:spcPct val="112494"/>
              </a:lnSpc>
              <a:spcBef>
                <a:spcPts val="0"/>
              </a:spcBef>
              <a:buClr>
                <a:srgbClr val="000000"/>
              </a:buClr>
              <a:buSzPts val="1800"/>
              <a:defRPr/>
            </a:pPr>
            <a:r>
              <a:rPr lang="sv-SE" sz="360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Stort tack för din medverkan!</a:t>
            </a:r>
            <a:br>
              <a:rPr lang="sv-SE" sz="2400" dirty="0">
                <a:solidFill>
                  <a:srgbClr val="000000"/>
                </a:solidFill>
                <a:ea typeface="Arial"/>
                <a:cs typeface="Arial"/>
                <a:sym typeface="Arial"/>
              </a:rPr>
            </a:br>
            <a:br>
              <a:rPr lang="sv-SE" sz="2400" dirty="0">
                <a:solidFill>
                  <a:srgbClr val="000000"/>
                </a:solidFill>
                <a:ea typeface="Arial"/>
                <a:cs typeface="Arial"/>
                <a:sym typeface="Arial"/>
              </a:rPr>
            </a:br>
            <a:br>
              <a:rPr lang="sv-SE" b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</a:br>
            <a:endParaRPr lang="sv-SE" dirty="0"/>
          </a:p>
        </p:txBody>
      </p:sp>
      <p:pic>
        <p:nvPicPr>
          <p:cNvPr id="3" name="Picture 1" descr="Logotyp Kraftsamling för psykisk hälsa">
            <a:extLst>
              <a:ext uri="{FF2B5EF4-FFF2-40B4-BE49-F238E27FC236}">
                <a16:creationId xmlns:a16="http://schemas.microsoft.com/office/drawing/2014/main" id="{83C78F7B-41BB-47EC-85E6-0CCE235AAE8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2181" y="766644"/>
            <a:ext cx="7620016" cy="2234189"/>
          </a:xfrm>
          <a:prstGeom prst="rect">
            <a:avLst/>
          </a:prstGeom>
        </p:spPr>
      </p:pic>
      <p:sp>
        <p:nvSpPr>
          <p:cNvPr id="4" name="Subtitle 2">
            <a:extLst>
              <a:ext uri="{FF2B5EF4-FFF2-40B4-BE49-F238E27FC236}">
                <a16:creationId xmlns:a16="http://schemas.microsoft.com/office/drawing/2014/main" id="{5288B089-07B9-4956-8B59-CC4D995F0E81}"/>
              </a:ext>
            </a:extLst>
          </p:cNvPr>
          <p:cNvSpPr txBox="1">
            <a:spLocks/>
          </p:cNvSpPr>
          <p:nvPr/>
        </p:nvSpPr>
        <p:spPr>
          <a:xfrm>
            <a:off x="0" y="5525953"/>
            <a:ext cx="12192000" cy="8289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defTabSz="1217966" fontAlgn="base">
              <a:lnSpc>
                <a:spcPts val="2755"/>
              </a:lnSpc>
              <a:spcBef>
                <a:spcPct val="0"/>
              </a:spcBef>
              <a:spcAft>
                <a:spcPct val="0"/>
              </a:spcAft>
              <a:defRPr sz="2449" b="1" kern="0">
                <a:latin typeface="+mj-lt"/>
                <a:ea typeface="+mj-ea"/>
                <a:cs typeface="Georgia" pitchFamily="18" charset="0"/>
              </a:defRPr>
            </a:lvl1pPr>
            <a:lvl2pPr defTabSz="1217966" fontAlgn="base">
              <a:spcBef>
                <a:spcPct val="0"/>
              </a:spcBef>
              <a:spcAft>
                <a:spcPct val="0"/>
              </a:spcAft>
              <a:defRPr sz="2721" b="1">
                <a:solidFill>
                  <a:schemeClr val="tx2"/>
                </a:solidFill>
                <a:latin typeface="Arial" charset="0"/>
              </a:defRPr>
            </a:lvl2pPr>
            <a:lvl3pPr defTabSz="1217966" fontAlgn="base">
              <a:spcBef>
                <a:spcPct val="0"/>
              </a:spcBef>
              <a:spcAft>
                <a:spcPct val="0"/>
              </a:spcAft>
              <a:defRPr sz="2721" b="1">
                <a:solidFill>
                  <a:schemeClr val="tx2"/>
                </a:solidFill>
                <a:latin typeface="Arial" charset="0"/>
              </a:defRPr>
            </a:lvl3pPr>
            <a:lvl4pPr defTabSz="1217966" fontAlgn="base">
              <a:spcBef>
                <a:spcPct val="0"/>
              </a:spcBef>
              <a:spcAft>
                <a:spcPct val="0"/>
              </a:spcAft>
              <a:defRPr sz="2721" b="1">
                <a:solidFill>
                  <a:schemeClr val="tx2"/>
                </a:solidFill>
                <a:latin typeface="Arial" charset="0"/>
              </a:defRPr>
            </a:lvl4pPr>
            <a:lvl5pPr defTabSz="1217966" fontAlgn="base">
              <a:spcBef>
                <a:spcPct val="0"/>
              </a:spcBef>
              <a:spcAft>
                <a:spcPct val="0"/>
              </a:spcAft>
              <a:defRPr sz="2721" b="1">
                <a:solidFill>
                  <a:schemeClr val="tx2"/>
                </a:solidFill>
                <a:latin typeface="Arial" charset="0"/>
              </a:defRPr>
            </a:lvl5pPr>
            <a:lvl6pPr marL="621939" defTabSz="1217966" fontAlgn="base">
              <a:spcBef>
                <a:spcPct val="0"/>
              </a:spcBef>
              <a:spcAft>
                <a:spcPct val="0"/>
              </a:spcAft>
              <a:defRPr sz="2721" b="1">
                <a:solidFill>
                  <a:schemeClr val="tx2"/>
                </a:solidFill>
                <a:latin typeface="Arial" charset="0"/>
              </a:defRPr>
            </a:lvl6pPr>
            <a:lvl7pPr marL="1243880" defTabSz="1217966" fontAlgn="base">
              <a:spcBef>
                <a:spcPct val="0"/>
              </a:spcBef>
              <a:spcAft>
                <a:spcPct val="0"/>
              </a:spcAft>
              <a:defRPr sz="2721" b="1">
                <a:solidFill>
                  <a:schemeClr val="tx2"/>
                </a:solidFill>
                <a:latin typeface="Arial" charset="0"/>
              </a:defRPr>
            </a:lvl7pPr>
            <a:lvl8pPr marL="1865820" defTabSz="1217966" fontAlgn="base">
              <a:spcBef>
                <a:spcPct val="0"/>
              </a:spcBef>
              <a:spcAft>
                <a:spcPct val="0"/>
              </a:spcAft>
              <a:defRPr sz="2721" b="1">
                <a:solidFill>
                  <a:schemeClr val="tx2"/>
                </a:solidFill>
                <a:latin typeface="Arial" charset="0"/>
              </a:defRPr>
            </a:lvl8pPr>
            <a:lvl9pPr marL="2487762" defTabSz="1217966" fontAlgn="base">
              <a:spcBef>
                <a:spcPct val="0"/>
              </a:spcBef>
              <a:spcAft>
                <a:spcPct val="0"/>
              </a:spcAft>
              <a:defRPr sz="2721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1217966" rtl="0" eaLnBrk="1" fontAlgn="base" latinLnBrk="0" hangingPunct="1">
              <a:lnSpc>
                <a:spcPts val="2755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</a:rPr>
              <a:t>Läs mer om kraftsamlingen på </a:t>
            </a:r>
            <a:r>
              <a:rPr kumimoji="0" lang="sv-SE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hlinkClick r:id="rId3"/>
              </a:rPr>
              <a:t>SKR:s hemsida </a:t>
            </a:r>
            <a:endParaRPr kumimoji="0" lang="sv-SE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j-ea"/>
            </a:endParaRPr>
          </a:p>
          <a:p>
            <a:pPr marL="0" marR="0" lvl="0" indent="0" algn="ctr" defTabSz="1217966" rtl="0" eaLnBrk="1" fontAlgn="base" latinLnBrk="0" hangingPunct="1">
              <a:lnSpc>
                <a:spcPts val="2755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j-ea"/>
              </a:rPr>
              <a:t>För frågor kontakta: </a:t>
            </a:r>
            <a:r>
              <a:rPr kumimoji="0" lang="sv-S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j-ea"/>
                <a:hlinkClick r:id="rId4"/>
              </a:rPr>
              <a:t>kraftsamlingpsykiskhalsa@skr.se</a:t>
            </a:r>
            <a:endParaRPr kumimoji="0" lang="sv-SE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8861432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latshållare för innehåll 10">
            <a:extLst>
              <a:ext uri="{FF2B5EF4-FFF2-40B4-BE49-F238E27FC236}">
                <a16:creationId xmlns:a16="http://schemas.microsoft.com/office/drawing/2014/main" id="{8A341E4E-2A01-42DB-9D96-1B44950C22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ChangeAspect="1"/>
          </p:cNvPicPr>
          <p:nvPr>
            <p:ph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4000" y="2257768"/>
            <a:ext cx="5072063" cy="3980763"/>
          </a:xfr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D2C2EC67-0523-45D4-AB12-FB2051D665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cs typeface="Calibri" pitchFamily="34" charset="0"/>
              </a:rPr>
              <a:t>För att möta utmaningarna inom psykisk hälsa, krävs att vi arbetar tillsammans på ett nytt sätt</a:t>
            </a:r>
            <a:endParaRPr lang="sv-SE" dirty="0"/>
          </a:p>
        </p:txBody>
      </p:sp>
      <p:sp>
        <p:nvSpPr>
          <p:cNvPr id="9" name="Platshållare för innehåll 2">
            <a:extLst>
              <a:ext uri="{FF2B5EF4-FFF2-40B4-BE49-F238E27FC236}">
                <a16:creationId xmlns:a16="http://schemas.microsoft.com/office/drawing/2014/main" id="{9B248F9D-6736-4F5E-9F56-0B05FDCF532C}"/>
              </a:ext>
            </a:extLst>
          </p:cNvPr>
          <p:cNvSpPr txBox="1">
            <a:spLocks/>
          </p:cNvSpPr>
          <p:nvPr/>
        </p:nvSpPr>
        <p:spPr>
          <a:xfrm>
            <a:off x="7035356" y="3190970"/>
            <a:ext cx="2934144" cy="119053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58763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7936" rtl="0" eaLnBrk="1" fontAlgn="base" latinLnBrk="0" hangingPunct="1">
              <a:lnSpc>
                <a:spcPts val="2755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j-ea"/>
                <a:sym typeface="Arial"/>
              </a:rPr>
              <a:t>Kraftsamling för </a:t>
            </a:r>
            <a:br>
              <a:rPr kumimoji="0" lang="sv-SE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j-ea"/>
                <a:sym typeface="Arial"/>
              </a:rPr>
            </a:br>
            <a:r>
              <a:rPr kumimoji="0" lang="sv-SE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j-ea"/>
                <a:sym typeface="Arial"/>
              </a:rPr>
              <a:t>psykisk hälsa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0B79054F-1D01-4229-9A1A-F0E2ED38865D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601105" marR="0" lvl="1" indent="-342891" algn="l" defTabSz="119370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Bredda perspektivet och </a:t>
            </a:r>
            <a:br>
              <a:rPr kumimoji="0" lang="sv-SE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</a:br>
            <a:r>
              <a:rPr kumimoji="0" lang="sv-SE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våga tänka stort</a:t>
            </a:r>
          </a:p>
          <a:p>
            <a:pPr marL="601105" marR="0" lvl="1" indent="-342891" algn="l" defTabSz="119370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Involvera alla sektorer – samtidigt</a:t>
            </a:r>
          </a:p>
          <a:p>
            <a:pPr marL="601105" marR="0" lvl="1" indent="-342891" algn="l" defTabSz="119370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Vara långsiktiga och uthålliga</a:t>
            </a:r>
          </a:p>
        </p:txBody>
      </p:sp>
      <p:sp>
        <p:nvSpPr>
          <p:cNvPr id="7" name="Isosceles Triangle 22">
            <a:extLst>
              <a:ext uri="{FF2B5EF4-FFF2-40B4-BE49-F238E27FC236}">
                <a16:creationId xmlns:a16="http://schemas.microsoft.com/office/drawing/2014/main" id="{D24059F7-DCA9-4C1B-9173-2555F1F8A4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5400000">
            <a:off x="3827625" y="3956297"/>
            <a:ext cx="4360997" cy="527513"/>
          </a:xfrm>
          <a:prstGeom prst="triangle">
            <a:avLst/>
          </a:prstGeom>
          <a:solidFill>
            <a:schemeClr val="accent3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667777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8251A41B-863F-4B3C-8C8A-533636146D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451600" y="3009900"/>
            <a:ext cx="5287964" cy="2400300"/>
          </a:xfrm>
          <a:prstGeom prst="rect">
            <a:avLst/>
          </a:prstGeom>
          <a:solidFill>
            <a:srgbClr val="B5E4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E8D0A6B3-877E-4C43-B551-485C0EF999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19793" y="3009900"/>
            <a:ext cx="5110162" cy="24003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0E0C0F82-0921-428E-BC18-2805DBE160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raftsamlingen är ett arbetssätt för att genomföra konkret utvecklingsarbete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9478886-6464-4142-9FBB-3D351FAC82A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19793" y="3124200"/>
            <a:ext cx="3060700" cy="2159000"/>
          </a:xfrm>
        </p:spPr>
        <p:txBody>
          <a:bodyPr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sv-S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itchFamily="34" charset="0"/>
              </a:rPr>
              <a:t>En samlande arena</a:t>
            </a: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itchFamily="34" charset="0"/>
              </a:rPr>
              <a:t> -  </a:t>
            </a:r>
            <a:b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itchFamily="34" charset="0"/>
              </a:rPr>
            </a:b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itchFamily="34" charset="0"/>
              </a:rPr>
              <a:t>för att genomföra tvärsektoriellt, långsiktigt och sammanhållet utvecklingsarbete</a:t>
            </a:r>
            <a:endParaRPr kumimoji="0" lang="sv-S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164A6F2-2D52-4175-8C83-43363EAFAF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7537"/>
          <a:stretch/>
        </p:blipFill>
        <p:spPr>
          <a:xfrm>
            <a:off x="3607940" y="1789895"/>
            <a:ext cx="4867275" cy="4840310"/>
          </a:xfrm>
          <a:prstGeom prst="ellipse">
            <a:avLst/>
          </a:prstGeom>
          <a:ln w="38100">
            <a:solidFill>
              <a:schemeClr val="bg1"/>
            </a:solidFill>
          </a:ln>
        </p:spPr>
      </p:pic>
      <p:sp>
        <p:nvSpPr>
          <p:cNvPr id="9" name="Platshållare för innehåll 2">
            <a:extLst>
              <a:ext uri="{FF2B5EF4-FFF2-40B4-BE49-F238E27FC236}">
                <a16:creationId xmlns:a16="http://schemas.microsoft.com/office/drawing/2014/main" id="{E0E86137-6F20-4F72-A32E-CD6E2C3AC2BF}"/>
              </a:ext>
            </a:extLst>
          </p:cNvPr>
          <p:cNvSpPr txBox="1">
            <a:spLocks/>
          </p:cNvSpPr>
          <p:nvPr/>
        </p:nvSpPr>
        <p:spPr>
          <a:xfrm>
            <a:off x="4483101" y="3416300"/>
            <a:ext cx="3060700" cy="18669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58763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Aft>
                <a:spcPts val="0"/>
              </a:spcAft>
              <a:buNone/>
              <a:defRPr/>
            </a:pPr>
            <a:r>
              <a:rPr kumimoji="0" lang="sv-SE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aftsamling för psykisk hälsa – </a:t>
            </a:r>
          </a:p>
          <a:p>
            <a:pPr marL="0" indent="0" algn="ctr">
              <a:spcAft>
                <a:spcPts val="0"/>
              </a:spcAft>
              <a:buNone/>
              <a:defRPr/>
            </a:pPr>
            <a:r>
              <a:rPr kumimoji="0" lang="sv-S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är ett arbetssätt som flyger med två vingar</a:t>
            </a:r>
            <a:endParaRPr lang="sv-SE" sz="2400" dirty="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3D52C12B-8008-441E-9521-D05295A294C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496301" y="3111500"/>
            <a:ext cx="3395662" cy="4305052"/>
          </a:xfrm>
        </p:spPr>
        <p:txBody>
          <a:bodyPr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sv-S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itchFamily="34" charset="0"/>
              </a:rPr>
              <a:t>Verkstäder för att genomföra konkret utvecklingsarbete</a:t>
            </a:r>
            <a:endParaRPr kumimoji="0" lang="en-GB" sz="20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Calibri" pitchFamily="34" charset="0"/>
            </a:endParaRPr>
          </a:p>
          <a:p>
            <a:pPr marL="73025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Wingdings" panose="05000000000000000000" pitchFamily="2" charset="2"/>
              <a:buChar char="v"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itchFamily="34" charset="0"/>
              </a:rPr>
              <a:t>Nationella delarenor</a:t>
            </a:r>
            <a:endParaRPr kumimoji="0" lang="sv-S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73025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Wingdings" panose="05000000000000000000" pitchFamily="2" charset="2"/>
              <a:buChar char="v"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itchFamily="34" charset="0"/>
              </a:rPr>
              <a:t>Lokala kraftsamlingar</a:t>
            </a:r>
          </a:p>
          <a:p>
            <a:pPr marL="73025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Wingdings" panose="05000000000000000000" pitchFamily="2" charset="2"/>
              <a:buChar char="v"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itchFamily="34" charset="0"/>
              </a:rPr>
              <a:t>Nationellt prioriterade frågor</a:t>
            </a:r>
          </a:p>
          <a:p>
            <a:endParaRPr lang="sv-SE" sz="2000" dirty="0"/>
          </a:p>
        </p:txBody>
      </p:sp>
    </p:spTree>
    <p:extLst>
      <p:ext uri="{BB962C8B-B14F-4D97-AF65-F5344CB8AC3E}">
        <p14:creationId xmlns:p14="http://schemas.microsoft.com/office/powerpoint/2010/main" val="8385189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8251A41B-863F-4B3C-8C8A-533636146D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451600" y="1789895"/>
            <a:ext cx="5440364" cy="4840309"/>
          </a:xfrm>
          <a:prstGeom prst="rect">
            <a:avLst/>
          </a:prstGeom>
          <a:solidFill>
            <a:srgbClr val="B5E4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E8D0A6B3-877E-4C43-B551-485C0EF999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00037" y="1789895"/>
            <a:ext cx="5229918" cy="484030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0E0C0F82-0921-428E-BC18-2805DBE160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raftsamlingen är ett arbetssätt för att genomföra konkret utvecklingsarbete – mer i detalj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9478886-6464-4142-9FBB-3D351FAC82A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19792" y="1892300"/>
            <a:ext cx="3428307" cy="3390900"/>
          </a:xfrm>
        </p:spPr>
        <p:txBody>
          <a:bodyPr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sv-SE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itchFamily="34" charset="0"/>
              </a:rPr>
              <a:t>En samlande arena</a:t>
            </a:r>
            <a:r>
              <a:rPr kumimoji="0" lang="sv-SE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itchFamily="34" charset="0"/>
              </a:rPr>
              <a:t> -  </a:t>
            </a:r>
            <a:br>
              <a:rPr kumimoji="0" lang="sv-SE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itchFamily="34" charset="0"/>
              </a:rPr>
            </a:br>
            <a:r>
              <a:rPr kumimoji="0" lang="sv-SE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itchFamily="34" charset="0"/>
              </a:rPr>
              <a:t>för att genomföra tvärsektoriellt, långsiktigt och sammanhållet utvecklingsarbete</a:t>
            </a:r>
            <a:endParaRPr lang="sv-SE" dirty="0">
              <a:solidFill>
                <a:prstClr val="black"/>
              </a:solidFill>
              <a:latin typeface="Arial" panose="020B0604020202020204"/>
              <a:cs typeface="Calibri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mmanbindande arena, som komplement till befintliga nätverk </a:t>
            </a:r>
            <a:b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ch struktur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prida engagemang för </a:t>
            </a:r>
            <a:b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värsektoriellt utvecklingsarbete </a:t>
            </a:r>
            <a:b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s befintliga och potentiella deltagar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llhandahåller platser där aktörer kan mötas, exempelvis kopplat till specifika teman, målgrupp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ödjer samarbeten genom att exempelvis tillhandahålla metodstöd och stöd med kontaktförmedling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sv-S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endParaRPr kumimoji="0" lang="sv-S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164A6F2-2D52-4175-8C83-43363EAFAF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7537"/>
          <a:stretch/>
        </p:blipFill>
        <p:spPr>
          <a:xfrm>
            <a:off x="3607940" y="1789895"/>
            <a:ext cx="4867275" cy="4840310"/>
          </a:xfrm>
          <a:prstGeom prst="ellipse">
            <a:avLst/>
          </a:prstGeom>
          <a:ln w="38100">
            <a:solidFill>
              <a:schemeClr val="bg1"/>
            </a:solidFill>
          </a:ln>
        </p:spPr>
      </p:pic>
      <p:sp>
        <p:nvSpPr>
          <p:cNvPr id="9" name="Platshållare för innehåll 2">
            <a:extLst>
              <a:ext uri="{FF2B5EF4-FFF2-40B4-BE49-F238E27FC236}">
                <a16:creationId xmlns:a16="http://schemas.microsoft.com/office/drawing/2014/main" id="{E0E86137-6F20-4F72-A32E-CD6E2C3AC2BF}"/>
              </a:ext>
            </a:extLst>
          </p:cNvPr>
          <p:cNvSpPr txBox="1">
            <a:spLocks/>
          </p:cNvSpPr>
          <p:nvPr/>
        </p:nvSpPr>
        <p:spPr>
          <a:xfrm>
            <a:off x="4483101" y="3416300"/>
            <a:ext cx="3060700" cy="18669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58763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Aft>
                <a:spcPts val="0"/>
              </a:spcAft>
              <a:buNone/>
              <a:defRPr/>
            </a:pPr>
            <a:r>
              <a:rPr kumimoji="0" lang="sv-SE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aftsamling för psykisk hälsa – </a:t>
            </a:r>
          </a:p>
          <a:p>
            <a:pPr marL="0" indent="0" algn="ctr">
              <a:spcAft>
                <a:spcPts val="0"/>
              </a:spcAft>
              <a:buNone/>
              <a:defRPr/>
            </a:pPr>
            <a:r>
              <a:rPr kumimoji="0" lang="sv-S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är ett arbetssätt som flyger med två vingar</a:t>
            </a:r>
            <a:endParaRPr lang="sv-SE" sz="2400" dirty="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3D52C12B-8008-441E-9521-D05295A294C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05800" y="1892300"/>
            <a:ext cx="3586163" cy="5524252"/>
          </a:xfrm>
        </p:spPr>
        <p:txBody>
          <a:bodyPr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sv-SE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itchFamily="34" charset="0"/>
              </a:rPr>
              <a:t>Verkstäder för att genomföra konkret utvecklingsarbete</a:t>
            </a:r>
            <a:endParaRPr kumimoji="0" lang="en-GB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Calibri" pitchFamily="34" charset="0"/>
            </a:endParaRPr>
          </a:p>
          <a:p>
            <a:pPr marL="73025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Wingdings" panose="05000000000000000000" pitchFamily="2" charset="2"/>
              <a:buChar char="v"/>
              <a:tabLst/>
              <a:defRPr/>
            </a:pPr>
            <a:r>
              <a:rPr kumimoji="0" lang="sv-SE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itchFamily="34" charset="0"/>
              </a:rPr>
              <a:t>Nationella delarenor</a:t>
            </a:r>
            <a:endParaRPr kumimoji="0" lang="sv-SE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73025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Wingdings" panose="05000000000000000000" pitchFamily="2" charset="2"/>
              <a:buChar char="v"/>
              <a:tabLst/>
              <a:defRPr/>
            </a:pPr>
            <a:r>
              <a:rPr kumimoji="0" lang="sv-SE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itchFamily="34" charset="0"/>
              </a:rPr>
              <a:t>Lokala kraftsamlingar</a:t>
            </a:r>
          </a:p>
          <a:p>
            <a:pPr marL="73025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Wingdings" panose="05000000000000000000" pitchFamily="2" charset="2"/>
              <a:buChar char="v"/>
              <a:tabLst/>
              <a:defRPr/>
            </a:pPr>
            <a:r>
              <a:rPr kumimoji="0" lang="sv-SE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itchFamily="34" charset="0"/>
              </a:rPr>
              <a:t>Nationellt prioriterade frågor</a:t>
            </a:r>
            <a:endParaRPr lang="sv-SE" dirty="0">
              <a:solidFill>
                <a:prstClr val="black"/>
              </a:solidFill>
              <a:latin typeface="Arial" panose="020B0604020202020204"/>
              <a:cs typeface="Calibri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rbetsmodell för att lösa prioriterade   utmaningar utifrån hela samhälle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riktas mot de svåraste samhällsutmaningarna på nationell respektive lokal nivå som kräver tvärsektoriellt/-</a:t>
            </a:r>
            <a:r>
              <a:rPr kumimoji="0" lang="sv-S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ktöriellt</a:t>
            </a: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ngreppssät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sulterar i långsiktiga ”handslag” (ca 3-5 år) på nationell respektive lokal nivå, där var och en av de deltagande aktörerna gör tydliga åtagande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kluderar att driva på för att lösa nationellt prioriterade frågor</a:t>
            </a: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Calibri" pitchFamily="34" charset="0"/>
            </a:endParaRPr>
          </a:p>
          <a:p>
            <a:endParaRPr lang="sv-SE" sz="2000" dirty="0"/>
          </a:p>
        </p:txBody>
      </p:sp>
    </p:spTree>
    <p:extLst>
      <p:ext uri="{BB962C8B-B14F-4D97-AF65-F5344CB8AC3E}">
        <p14:creationId xmlns:p14="http://schemas.microsoft.com/office/powerpoint/2010/main" val="36510150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objekt 10">
            <a:extLst>
              <a:ext uri="{FF2B5EF4-FFF2-40B4-BE49-F238E27FC236}">
                <a16:creationId xmlns:a16="http://schemas.microsoft.com/office/drawing/2014/main" id="{8B37D908-369F-4097-AB03-B6E4C79FE1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E6A319F0-1CF7-49A4-B90C-54B76BB06F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4534027"/>
              </p:ext>
            </p:extLst>
          </p:nvPr>
        </p:nvGraphicFramePr>
        <p:xfrm>
          <a:off x="1802" y="1673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6A319F0-1CF7-49A4-B90C-54B76BB06F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02" y="1673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7B59B6D-2845-413A-A123-377E6363313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85295" y="629371"/>
            <a:ext cx="12363450" cy="714375"/>
          </a:xfrm>
        </p:spPr>
        <p:txBody>
          <a:bodyPr/>
          <a:lstStyle/>
          <a:p>
            <a:r>
              <a:rPr lang="sv-SE" dirty="0"/>
              <a:t>Totalt har fler än 350 organisationer</a:t>
            </a:r>
            <a:br>
              <a:rPr lang="sv-SE" dirty="0"/>
            </a:br>
            <a:r>
              <a:rPr lang="sv-SE" dirty="0"/>
              <a:t>hittills medverkat i Kraftsamlingens aktiviteter</a:t>
            </a:r>
            <a:endParaRPr lang="sv-SE" b="0" dirty="0"/>
          </a:p>
        </p:txBody>
      </p:sp>
      <p:sp>
        <p:nvSpPr>
          <p:cNvPr id="25" name="Speech Bubble: Rectangle 24">
            <a:extLst>
              <a:ext uri="{FF2B5EF4-FFF2-40B4-BE49-F238E27FC236}">
                <a16:creationId xmlns:a16="http://schemas.microsoft.com/office/drawing/2014/main" id="{5440F7A0-C949-408C-BCB2-41711A523A4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217368" y="5910374"/>
            <a:ext cx="8632665" cy="861844"/>
          </a:xfrm>
          <a:prstGeom prst="wedgeRectCallout">
            <a:avLst>
              <a:gd name="adj1" fmla="val -30558"/>
              <a:gd name="adj2" fmla="val -77763"/>
            </a:avLst>
          </a:prstGeom>
          <a:solidFill>
            <a:schemeClr val="bg1">
              <a:alpha val="85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Kraftsamlingen är ett </a:t>
            </a:r>
            <a:r>
              <a:rPr kumimoji="0" lang="sv-SE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arbetssätt </a:t>
            </a:r>
            <a:r>
              <a:rPr kumimoji="0" lang="sv-S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där ingen styr över någon annan – medverkan sker </a:t>
            </a:r>
            <a:r>
              <a:rPr kumimoji="0" lang="sv-SE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på eget mandat </a:t>
            </a:r>
            <a:r>
              <a:rPr kumimoji="0" lang="sv-S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och efter </a:t>
            </a:r>
            <a:r>
              <a:rPr kumimoji="0" lang="sv-SE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egna förutsättninga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81C9E54-C24E-46BA-BEE9-EE9BAAA091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048000" y="-68182740"/>
            <a:ext cx="6096000" cy="4183632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1177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(H)järnkoll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1825 - Terapicenter för Unga Vuxna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29k 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AcadeMedia</a:t>
            </a: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Support AB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ACT förbundet 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Akademikerförbundet SSR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Akademiska sjukhuset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Akademiska sjukhuset Sektionen för barn- och ungdomspsykiatri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Ale kommu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Allmänna arvsfonde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Allmänna barnhuset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Allmänpsykatri</a:t>
            </a: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Region Örebro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Amf</a:t>
            </a: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Insatser/stöd MIA-projektet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Amningshjälpe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Arbetarnas Bildningsförbund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Arbetsförmedlingen 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Arbetsmarknadsförvaltninge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Arrowtions</a:t>
            </a:r>
            <a:endParaRPr kumimoji="0" lang="sv-SE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Astma och Allergiförbundet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Barn och elevhälsa Nacka kommu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Beteendeterapeutiska föreninge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Bollnäs kommu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Botkyrka kommu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BRANAK (</a:t>
            </a: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Branneby</a:t>
            </a: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naturkonsult), Hälsans natur, </a:t>
            </a: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Unicare</a:t>
            </a: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Bakke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BRIS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BUP Göteborg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BUP Region Uppsala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BUP </a:t>
            </a:r>
            <a:r>
              <a:rPr kumimoji="0" lang="en-US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kåne</a:t>
            </a:r>
            <a:endParaRPr kumimoji="0" lang="sv-SE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BUP Stockholm</a:t>
            </a:r>
            <a:endParaRPr kumimoji="0" lang="sv-SE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Campus </a:t>
            </a:r>
            <a:r>
              <a:rPr kumimoji="0" lang="en-US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Nynäshamn</a:t>
            </a:r>
            <a:endParaRPr kumimoji="0" lang="sv-SE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CA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Centerpartiet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centrala barn och elevhälsan </a:t>
            </a: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norrtälje</a:t>
            </a: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kommu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Change Collective</a:t>
            </a:r>
            <a:endParaRPr kumimoji="0" lang="sv-SE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Cognoscenti AB</a:t>
            </a:r>
            <a:endParaRPr kumimoji="0" lang="sv-SE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Danderyds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kumimoji="0" lang="en-US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kommun</a:t>
            </a:r>
            <a:endParaRPr kumimoji="0" lang="sv-SE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ECC by Syré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Engelska skola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Feelgood</a:t>
            </a: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företagshälsa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Fenomenala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FMV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Folkhälsocentrum Norrbotte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Folkhälsomyndighete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Forum för </a:t>
            </a: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health</a:t>
            </a: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policy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Fountain</a:t>
            </a: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House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Friends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Frisk &amp; Fri - Riksföreningen not ätstörningar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Frisq</a:t>
            </a:r>
            <a:endParaRPr kumimoji="0" lang="sv-SE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Frälsningsarmé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FSUM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FUB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Funktionsrätt</a:t>
            </a: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Sverige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Fysioterapeuterna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För Hälsa-</a:t>
            </a: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Färentuna</a:t>
            </a: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Hälsoträdgård, föreningen Hälsans Natur och </a:t>
            </a: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NaturhälsaCenter</a:t>
            </a: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och Ung Kreativ Arena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Förbundet för Musikterapi i Sverige FMS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Förbundet </a:t>
            </a: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ane</a:t>
            </a:r>
            <a:endParaRPr kumimoji="0" lang="sv-SE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Förbundet Sveriges Arbetsterapeuter​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Föreningen S:t Lukas - Unga Lukas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Föreningen Tilia (</a:t>
            </a: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TeamTilia</a:t>
            </a: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)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Företagshälsorna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Försäkringskassa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GenerationPEP</a:t>
            </a:r>
            <a:endParaRPr kumimoji="0" lang="sv-SE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Gripslivscoaching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Gruppanalytiska Institutet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Gällivare kommu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Göteborgs kommu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Handbegripligt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Handelshögskola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Haninge kommu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Haro</a:t>
            </a:r>
            <a:endParaRPr kumimoji="0" lang="sv-SE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Holistisk hälsa AB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House of Plenty Foundation</a:t>
            </a:r>
            <a:endParaRPr kumimoji="0" lang="sv-SE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Håbo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kumimoji="0" lang="en-US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kommun</a:t>
            </a:r>
            <a:endParaRPr kumimoji="0" lang="sv-SE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Hägersten-Liljeholmens </a:t>
            </a: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df</a:t>
            </a:r>
            <a:endParaRPr kumimoji="0" lang="sv-SE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Härryda kommu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Idrottsförvaltningen, Stockholms stad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IFFS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IFS Stockholmsdistriktet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IFS Uppsala lä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ii4i </a:t>
            </a: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consulting</a:t>
            </a:r>
            <a:endParaRPr kumimoji="0" lang="sv-SE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Inför 2 halvlek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Initiativ Samutveckling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Interse</a:t>
            </a: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ekonomisk förening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Intresseföreningen för </a:t>
            </a: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assistansberättigade,IAF</a:t>
            </a:r>
            <a:endParaRPr kumimoji="0" lang="sv-SE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Intresseföreningen för schizofreni och andra psykoser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iris Utvecklingscenter AB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Janssen-</a:t>
            </a: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Cilag</a:t>
            </a: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AB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Jobbtorg Stockholm, VO stöd, Alfa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Järfälla Kommun/Ungdomsmottagning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Karolinska institutet 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Karolinska Universitetssjukhuset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KIND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Kommunalförbundet Sjukvård och omsorg i Norrtälje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Kommunförbundet Kalmar lä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Korrespondensgymnasiet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Krica</a:t>
            </a: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/</a:t>
            </a: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apu</a:t>
            </a:r>
            <a:endParaRPr kumimoji="0" lang="sv-SE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Krukmakarens Hus - Frälsningsarmé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KRY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KSA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KTH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Kungsbacka kommu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Kunskapscentrum Barnafrid Linköpings Universitet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Källbrinksskolan, Huddinge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Liljegrenska</a:t>
            </a: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Linköpings Universitet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LSV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LTU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Luleå kommu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Lycksele Kommu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Läkemedelsverket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Länsförsäkringar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Länsstyrelse Blekinge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Länsstyrelse Dalarna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Länsstyrelse Gotland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Länsstyrelse Gävleborg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Länsstyrelse Halland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Länsstyrelse Jämtland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Länsstyrelse Jönköping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Länsstyrelse Kalmar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Länsstyrelse Kronoberg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Länsstyrelse Norrbotte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Länsstyrelse Skåne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Länsstyrelse Stockholm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Länsstyrelse Södermanland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Länsstyrelse Uppsala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Länsstyrelse Värmland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Länsstyrelse Västerbotte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Länsstyrelse Västernorrland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Länsstyrelse Västmanland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Länsstyrelse Västra Götaland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Länsstyrelse Örebro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Länsstyrelse Östergötland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Magelungen Utveckling AB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Maskrosbar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Mellanmålet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Min doktor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Mind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Mindler</a:t>
            </a:r>
            <a:endParaRPr kumimoji="0" lang="sv-SE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Misa</a:t>
            </a: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AB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Moment Psykologi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Myndigheten för delaktighet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Myndigheten för föräldraskapsstöd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Myndigheten för ungdoms- och civilsamhällesfrågor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Mälardalens Högskola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Möckelnföreninge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Mönsterås kommu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Nationellt kompetenscentrum anhöriga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Norrköpings kommu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Norrtälje kommu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NSPH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NSPHiG</a:t>
            </a:r>
            <a:endParaRPr kumimoji="0" lang="sv-SE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Närsjukvården Piteå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Nässjö kommu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Nätverk Digitala psykologer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Nätverket Psykbubbla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Nätverket Värmlands Idéburna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Oakfield</a:t>
            </a: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consulting</a:t>
            </a:r>
            <a:endParaRPr kumimoji="0" lang="sv-SE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Omvårdnadsinstitutet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Origo Resurs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Pacs</a:t>
            </a: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Sverige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Papilly</a:t>
            </a: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AB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Partsrådet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Polismyndighete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Pratamera</a:t>
            </a:r>
            <a:endParaRPr kumimoji="0" lang="sv-SE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Psykiatri Södra Stockholm SLSO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Psykologförbundet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Psykologifabrike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Psykologpartners Pedagogik &amp; Utveckling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Psykoterapeutföreningen/SSR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Psykoterapicentrum, </a:t>
            </a: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intresseorg</a:t>
            </a: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för psykodynamiska terapeuter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Psykoterapiföreninge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Psykoterapistiftelse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Q-</a:t>
            </a: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bup</a:t>
            </a: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Nationellt kvalitetsregister för barn- och ungdomspsykiatri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Qleva</a:t>
            </a: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AB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Qulturum</a:t>
            </a: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, Region Jönköpings lä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Raoul Wallenbergskola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Reacta</a:t>
            </a: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för Ungas Hälsa 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Reformklubben 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Regeringskansliet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Region Blekinge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Region Dalarna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Region Gotland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Region Gävleborg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Region Halland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Region Jönköping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Region Kalmar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Region Kronoberg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Region Skåne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Region Stockholm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Region Sörmland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Region Uppsala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Region Västerbotte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Region Västernorrland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Region Västmanland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Region Örebro lä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Region Östergötland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Region Östergötland/</a:t>
            </a: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Hfs</a:t>
            </a: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-nätverket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RFHL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RFHL Gävleborg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Riksdage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Riksförbundet Attentio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Riksförbundet HOBS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Riksförbundet SPES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Riksföreningen för skolsköterskor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Riksföreningen Äldre </a:t>
            </a: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Hälsa</a:t>
            </a:r>
            <a:endParaRPr kumimoji="0" lang="sv-SE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Riksidrottsförbundet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Riksorganisationen </a:t>
            </a: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Haro</a:t>
            </a:r>
            <a:endParaRPr kumimoji="0" lang="sv-SE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Rinkeby-Kista </a:t>
            </a: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df</a:t>
            </a:r>
            <a:endParaRPr kumimoji="0" lang="sv-SE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Rise</a:t>
            </a:r>
            <a:endParaRPr kumimoji="0" lang="sv-SE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RSMH Riksförbundet för Social och Mental Hälsa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Rädda Barne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Rädda Barnen Välfärd AB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Röda Korset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Röda korsets ungdomsförbund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:t Lukas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:ta Eugenia katolska församling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alus Care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amordningsförbundet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BU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chizofreniförbundet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chizofreniförbundet med lokalföreningar Uppsala och Örebro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fKBT</a:t>
            </a:r>
            <a:endParaRPr kumimoji="0" lang="sv-SE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hedo</a:t>
            </a:r>
            <a:endParaRPr kumimoji="0" lang="sv-SE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IGHT, KVA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ight</a:t>
            </a: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/Sahlgrenska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jukvårdsföreningen för övre Norrmalm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jöbo kommu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kandinavisk Hälsopromotion AB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kellefteå kommu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killbreak</a:t>
            </a:r>
            <a:endParaRPr kumimoji="0" lang="sv-SE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kolforskningsinstitutet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kolläkarföreninge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kolverket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KR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kurups kommu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LL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LS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LSO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lsu</a:t>
            </a: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Region Stockholm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LU i Alnarp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ocialstyrelse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ocialutskottet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oprasteria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orgmottagningen</a:t>
            </a: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- Sjukvårdsföreningen för övre </a:t>
            </a: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norrmalm</a:t>
            </a:r>
            <a:endParaRPr kumimoji="0" lang="sv-SE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OU God vård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pecialpedagogiska skolmyndighete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PES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PIV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psm</a:t>
            </a:r>
            <a:endParaRPr kumimoji="0" lang="sv-SE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SR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tenungsunds</a:t>
            </a: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kommun vuxenutbildning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tiftelsen Allmänna Barnhuset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tiftelsen Tim Bergling Foundatio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til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tockholm Stad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tockholms stadsmission 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toppa ofrivillig ensamhet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trategic Intervention Coach &amp; TEAM-CBT Therapist Level 2</a:t>
            </a:r>
            <a:endParaRPr kumimoji="0" lang="sv-SE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tudenthälsan Stockholms universitet 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uicide</a:t>
            </a: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Zero</a:t>
            </a:r>
            <a:endParaRPr kumimoji="0" lang="sv-SE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unt Arbetsliv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ustain4 AB/ Hållbar Vardag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wedish </a:t>
            </a: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Empowerment</a:t>
            </a: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Center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vensk sjuksköterskeförening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venska föreningen för gruppsykoterapi och grupputveckling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venska </a:t>
            </a: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Neufeld</a:t>
            </a: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-institutet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venska psykiatriföreningen för skötare (SPFS)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venska psykiatriska föreninge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venska röda korset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venska skolläkarföreninge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veriges Akademiska Musikterapeuter (SAM)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veriges Arbetsterapeuter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veriges företagshälsor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veriges Läkarförbund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veriges Psykologförbund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veriges Skolkuratorers förening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ydöstra Skåne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ystembolaget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ödermalms </a:t>
            </a: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df</a:t>
            </a:r>
            <a:endParaRPr kumimoji="0" lang="sv-SE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öderstöd Öppenvård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Södertälje kommu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Tierps kommu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Tilia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Tillsammans mot ensamhet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Tiohundra</a:t>
            </a: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AB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Tomelilla kommu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Tradewell</a:t>
            </a: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Group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Trygg i NT-kommun </a:t>
            </a: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Folkhälsostrateg</a:t>
            </a:r>
            <a:endParaRPr kumimoji="0" lang="sv-SE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TwoAct</a:t>
            </a: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AB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Tänk om nu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Umo.se/Youmo.se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Unga rörelsehindrade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Unicef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UPH Solna/Socialförvaltningen Solna Stad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Uppdrag psykiskhälsa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Uppsala kommu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Uppsala Universitet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Wake Me Up</a:t>
            </a:r>
            <a:endParaRPr kumimoji="0" lang="sv-SE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WeMind</a:t>
            </a:r>
            <a:endParaRPr kumimoji="0" lang="sv-SE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Verdandi</a:t>
            </a:r>
            <a:endParaRPr kumimoji="0" lang="sv-SE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Verdandi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kumimoji="0" lang="en-US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Örebro</a:t>
            </a:r>
            <a:endParaRPr kumimoji="0" lang="sv-SE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Vision Stockholms stad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Vox</a:t>
            </a: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Vigor</a:t>
            </a:r>
            <a:endParaRPr kumimoji="0" lang="sv-SE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VUP Region Sörmland/Psykiatriska kliniken Nyköping/Katrineholm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Vårdförbundet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Vårdyrkeshögskolan (Pulshögskolan AB)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Västerås stift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Västra Götalandsregione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Ystads kommu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Åldras och må bra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Ångestpodden</a:t>
            </a:r>
            <a:endParaRPr kumimoji="0" lang="sv-SE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Åre kommu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ÅSS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Älvkarleby kommu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Örebro Kommun</a:t>
            </a:r>
          </a:p>
          <a:p>
            <a:pPr marL="0" marR="0" lvl="0" indent="0" algn="l" defTabSz="121917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Östersunds kommun</a:t>
            </a:r>
          </a:p>
        </p:txBody>
      </p:sp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3F6DC2AF-64FE-43F6-9FB6-4EC2C1F7C9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098235" y="2687493"/>
            <a:ext cx="1979679" cy="3197364"/>
          </a:xfrm>
          <a:prstGeom prst="wedgeRectCallout">
            <a:avLst>
              <a:gd name="adj1" fmla="val -66070"/>
              <a:gd name="adj2" fmla="val 11440"/>
            </a:avLst>
          </a:prstGeom>
          <a:solidFill>
            <a:schemeClr val="bg1">
              <a:alpha val="85000"/>
            </a:schemeClr>
          </a:solidFill>
          <a:ln w="19050">
            <a:solidFill>
              <a:schemeClr val="accent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Bland deltagarna finns representanter från: 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Myndigheter, forskning &amp; utbildning, regioner,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kommuner,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civilsamhälle,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sv-S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vårdgivare och företag.</a:t>
            </a:r>
          </a:p>
        </p:txBody>
      </p:sp>
    </p:spTree>
    <p:extLst>
      <p:ext uri="{BB962C8B-B14F-4D97-AF65-F5344CB8AC3E}">
        <p14:creationId xmlns:p14="http://schemas.microsoft.com/office/powerpoint/2010/main" val="17200034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E0C0F82-0921-428E-BC18-2805DBE16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0293" y="774948"/>
            <a:ext cx="11581707" cy="714501"/>
          </a:xfrm>
        </p:spPr>
        <p:txBody>
          <a:bodyPr/>
          <a:lstStyle/>
          <a:p>
            <a:r>
              <a:rPr lang="sv-SE" sz="3000" dirty="0"/>
              <a:t>”</a:t>
            </a:r>
            <a:r>
              <a:rPr lang="sv-SE" sz="3000" dirty="0" err="1"/>
              <a:t>Connect</a:t>
            </a:r>
            <a:r>
              <a:rPr lang="sv-SE" sz="3000" dirty="0"/>
              <a:t> the </a:t>
            </a:r>
            <a:r>
              <a:rPr lang="sv-SE" sz="3000" dirty="0" err="1"/>
              <a:t>dots</a:t>
            </a:r>
            <a:r>
              <a:rPr lang="sv-SE" sz="3000" dirty="0"/>
              <a:t>” mellan organisationer ger nya möjligheter och lösningar, mindre dubbelarbete och större kraft!</a:t>
            </a:r>
          </a:p>
        </p:txBody>
      </p:sp>
      <p:pic>
        <p:nvPicPr>
          <p:cNvPr id="15" name="Platshållare för innehåll 14">
            <a:extLst>
              <a:ext uri="{FF2B5EF4-FFF2-40B4-BE49-F238E27FC236}">
                <a16:creationId xmlns:a16="http://schemas.microsoft.com/office/drawing/2014/main" id="{939ACC3D-2AC9-4786-8A15-74D23FCAE2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89449"/>
            <a:ext cx="12306300" cy="6478657"/>
          </a:xfrm>
        </p:spPr>
      </p:pic>
    </p:spTree>
    <p:extLst>
      <p:ext uri="{BB962C8B-B14F-4D97-AF65-F5344CB8AC3E}">
        <p14:creationId xmlns:p14="http://schemas.microsoft.com/office/powerpoint/2010/main" val="24328698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objekt 8">
            <a:extLst>
              <a:ext uri="{FF2B5EF4-FFF2-40B4-BE49-F238E27FC236}">
                <a16:creationId xmlns:a16="http://schemas.microsoft.com/office/drawing/2014/main" id="{9ECB5948-D12F-45BB-8614-FFF57E4D66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67F8B776-3A3D-4934-B3D9-CFFB8CF0B9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0293" y="305048"/>
            <a:ext cx="11065769" cy="714501"/>
          </a:xfrm>
        </p:spPr>
        <p:txBody>
          <a:bodyPr/>
          <a:lstStyle/>
          <a:p>
            <a:r>
              <a:rPr lang="sv-SE" sz="2800" dirty="0"/>
              <a:t>Kraftsamling psykisk hälsa inriktas mot tre arbetsområden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0A577B4-0611-4B80-A92E-00119FFE4AA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10293" y="1193800"/>
            <a:ext cx="3314007" cy="430505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. Ett mer hälsofrämjande samhälle och levnadssätt</a:t>
            </a: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sz="1600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lphaUcPeriod"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 samhällsdesign för hälsa och välmående </a:t>
            </a:r>
            <a:endParaRPr kumimoji="0" lang="sv-SE" sz="16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lphaUcPeriod"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 hälsofrämjande samhällsdiskussion </a:t>
            </a:r>
            <a:endParaRPr kumimoji="0" lang="sv-SE" sz="16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lphaUcPeriod"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tt arbets- och vardagsliv</a:t>
            </a:r>
            <a:b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d krav som svarar mot människors förmågor </a:t>
            </a:r>
            <a:endParaRPr kumimoji="0" lang="sv-SE" sz="16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Platshållare för innehåll 2">
            <a:extLst>
              <a:ext uri="{FF2B5EF4-FFF2-40B4-BE49-F238E27FC236}">
                <a16:creationId xmlns:a16="http://schemas.microsoft.com/office/drawing/2014/main" id="{1793CE8F-4229-45BA-A51A-14F620A8A33F}"/>
              </a:ext>
            </a:extLst>
          </p:cNvPr>
          <p:cNvSpPr txBox="1">
            <a:spLocks/>
          </p:cNvSpPr>
          <p:nvPr/>
        </p:nvSpPr>
        <p:spPr>
          <a:xfrm>
            <a:off x="4140893" y="1193800"/>
            <a:ext cx="3840162" cy="43050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58763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7000"/>
              </a:lnSpc>
              <a:spcAft>
                <a:spcPts val="0"/>
              </a:spcAft>
              <a:buNone/>
              <a:defRPr/>
            </a:pP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Times New Roman" panose="02020603050405020304" pitchFamily="18" charset="0"/>
              </a:rPr>
              <a:t>2</a:t>
            </a: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. Individer som är rustade för att nå sin fulla potential och välmående </a:t>
            </a:r>
            <a:r>
              <a:rPr lang="sv-SE" sz="1600" b="1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r hälsofrämjande samhälle och levnadssätt</a:t>
            </a:r>
            <a:r>
              <a:rPr lang="sv-SE" sz="16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 </a:t>
            </a:r>
          </a:p>
          <a:p>
            <a:pPr marL="0" indent="0">
              <a:lnSpc>
                <a:spcPct val="107000"/>
              </a:lnSpc>
              <a:spcAft>
                <a:spcPts val="0"/>
              </a:spcAft>
              <a:buFontTx/>
              <a:buNone/>
              <a:defRPr/>
            </a:pPr>
            <a:endParaRPr lang="sv-SE" sz="1600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lphaUcPeriod" startAt="4"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Ökad motståndskraft mot livets påfrestningar i alla åldrar </a:t>
            </a:r>
            <a:endParaRPr kumimoji="0" lang="sv-SE" sz="16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lphaUcPeriod" startAt="4"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tt utbildningssystem som för ihop samhällets och individens behov </a:t>
            </a:r>
            <a:endParaRPr kumimoji="0" lang="sv-SE" sz="16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lphaUcPeriod" startAt="4"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tt samlat ändamålsenligt erbjudande av främjande och förebyggande insatser </a:t>
            </a:r>
            <a:endParaRPr kumimoji="0" lang="sv-SE" sz="16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FontTx/>
              <a:buNone/>
              <a:defRPr/>
            </a:pPr>
            <a:endParaRPr lang="sv-SE" sz="1600" i="1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Platshållare för innehåll 6">
            <a:extLst>
              <a:ext uri="{FF2B5EF4-FFF2-40B4-BE49-F238E27FC236}">
                <a16:creationId xmlns:a16="http://schemas.microsoft.com/office/drawing/2014/main" id="{109D7866-E1E0-4F25-8F2D-C553BA3591F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077200" y="1193800"/>
            <a:ext cx="3840162" cy="4305052"/>
          </a:xfrm>
        </p:spPr>
        <p:txBody>
          <a:bodyPr/>
          <a:lstStyle/>
          <a:p>
            <a:pPr marL="30163" indent="0">
              <a:buNone/>
            </a:pP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. Hållbara stöd till de som behöver </a:t>
            </a:r>
          </a:p>
          <a:p>
            <a:pPr marL="30163" indent="0">
              <a:buNone/>
            </a:pPr>
            <a:endParaRPr lang="sv-SE" sz="1600" b="1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lphaUcPeriod" startAt="7"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Ökad tillgång till ändamålsenliga insatser för personer med psykisk ohälsa </a:t>
            </a:r>
            <a:endParaRPr kumimoji="0" lang="sv-SE" sz="16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lphaUcPeriod" startAt="7"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mpetens och kapacitet för att utföra det nya välfärdsuppdraget </a:t>
            </a:r>
            <a:endParaRPr kumimoji="0" lang="sv-SE" sz="16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lphaUcPeriod" startAt="7"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tt skyddsnät med täta maskor </a:t>
            </a:r>
            <a:endParaRPr kumimoji="0" lang="sv-SE" sz="16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0163" indent="0">
              <a:buNone/>
            </a:pPr>
            <a:endParaRPr kumimoji="0" lang="sv-SE" sz="16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sv-SE" sz="1600" dirty="0"/>
          </a:p>
        </p:txBody>
      </p:sp>
    </p:spTree>
    <p:extLst>
      <p:ext uri="{BB962C8B-B14F-4D97-AF65-F5344CB8AC3E}">
        <p14:creationId xmlns:p14="http://schemas.microsoft.com/office/powerpoint/2010/main" val="1169143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objekt 8">
            <a:extLst>
              <a:ext uri="{FF2B5EF4-FFF2-40B4-BE49-F238E27FC236}">
                <a16:creationId xmlns:a16="http://schemas.microsoft.com/office/drawing/2014/main" id="{9ECB5948-D12F-45BB-8614-FFF57E4D66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67F8B776-3A3D-4934-B3D9-CFFB8CF0B9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0293" y="305048"/>
            <a:ext cx="11065769" cy="714501"/>
          </a:xfrm>
        </p:spPr>
        <p:txBody>
          <a:bodyPr/>
          <a:lstStyle/>
          <a:p>
            <a:r>
              <a:rPr lang="sv-SE" sz="2400" dirty="0"/>
              <a:t>Arbetet under 2019 har gett underlag för att arbeta vidare med 20 delarenor</a:t>
            </a:r>
            <a:endParaRPr lang="sv-SE" dirty="0"/>
          </a:p>
        </p:txBody>
      </p:sp>
      <p:sp>
        <p:nvSpPr>
          <p:cNvPr id="12" name="Rectangle 68">
            <a:extLst>
              <a:ext uri="{FF2B5EF4-FFF2-40B4-BE49-F238E27FC236}">
                <a16:creationId xmlns:a16="http://schemas.microsoft.com/office/drawing/2014/main" id="{DC00A073-33D0-47F5-AF8A-CD5EE72C87B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651892" y="3675145"/>
            <a:ext cx="4080343" cy="2602563"/>
          </a:xfrm>
          <a:prstGeom prst="rect">
            <a:avLst/>
          </a:prstGeom>
          <a:solidFill>
            <a:schemeClr val="bg1">
              <a:alpha val="8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396">
              <a:spcAft>
                <a:spcPts val="1200"/>
              </a:spcAft>
              <a:defRPr/>
            </a:pPr>
            <a:endParaRPr lang="sv-SE" b="1" kern="0" dirty="0">
              <a:solidFill>
                <a:srgbClr val="08808F"/>
              </a:solidFill>
              <a:cs typeface="Arial" panose="020B0604020202020204" pitchFamily="34" charset="0"/>
            </a:endParaRPr>
          </a:p>
          <a:p>
            <a:pPr algn="ctr" defTabSz="914396">
              <a:spcAft>
                <a:spcPts val="1200"/>
              </a:spcAft>
              <a:defRPr/>
            </a:pPr>
            <a:r>
              <a:rPr lang="sv-SE" sz="1800" b="1" kern="0" dirty="0">
                <a:solidFill>
                  <a:srgbClr val="08808F"/>
                </a:solidFill>
                <a:cs typeface="Arial" panose="020B0604020202020204" pitchFamily="34" charset="0"/>
              </a:rPr>
              <a:t>Kickoff</a:t>
            </a:r>
          </a:p>
          <a:p>
            <a:pPr lvl="0" algn="ctr" defTabSz="914396">
              <a:spcAft>
                <a:spcPts val="1200"/>
              </a:spcAft>
              <a:defRPr/>
            </a:pPr>
            <a:r>
              <a:rPr lang="sv-SE" sz="1800" b="1" kern="0" dirty="0">
                <a:solidFill>
                  <a:srgbClr val="08808F"/>
                </a:solidFill>
                <a:cs typeface="Arial" panose="020B0604020202020204" pitchFamily="34" charset="0"/>
              </a:rPr>
              <a:t>Workshops</a:t>
            </a:r>
          </a:p>
          <a:p>
            <a:pPr algn="ctr" defTabSz="914396">
              <a:spcAft>
                <a:spcPts val="1200"/>
              </a:spcAft>
              <a:defRPr/>
            </a:pPr>
            <a:r>
              <a:rPr lang="sv-SE" sz="1800" b="1" kern="0" dirty="0">
                <a:solidFill>
                  <a:srgbClr val="08808F"/>
                </a:solidFill>
                <a:cs typeface="Arial" panose="020B0604020202020204" pitchFamily="34" charset="0"/>
              </a:rPr>
              <a:t>Enkät</a:t>
            </a:r>
          </a:p>
          <a:p>
            <a:pPr algn="ctr" defTabSz="914396">
              <a:spcAft>
                <a:spcPts val="1200"/>
              </a:spcAft>
              <a:defRPr/>
            </a:pPr>
            <a:r>
              <a:rPr lang="sv-SE" sz="1800" b="1" kern="0" dirty="0">
                <a:solidFill>
                  <a:srgbClr val="08808F"/>
                </a:solidFill>
                <a:cs typeface="Arial" panose="020B0604020202020204" pitchFamily="34" charset="0"/>
              </a:rPr>
              <a:t>Funktionsbrevlådan</a:t>
            </a:r>
          </a:p>
          <a:p>
            <a:pPr algn="ctr" defTabSz="914396">
              <a:spcAft>
                <a:spcPts val="1200"/>
              </a:spcAft>
              <a:defRPr/>
            </a:pPr>
            <a:r>
              <a:rPr lang="sv-SE" sz="1800" b="1" kern="0" dirty="0">
                <a:solidFill>
                  <a:srgbClr val="08808F"/>
                </a:solidFill>
                <a:cs typeface="Arial" panose="020B0604020202020204" pitchFamily="34" charset="0"/>
              </a:rPr>
              <a:t>Intervjuer</a:t>
            </a:r>
          </a:p>
          <a:p>
            <a:pPr algn="ctr"/>
            <a:endParaRPr lang="en-GB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cxnSp>
        <p:nvCxnSpPr>
          <p:cNvPr id="13" name="Connector: Elbow 19">
            <a:extLst>
              <a:ext uri="{FF2B5EF4-FFF2-40B4-BE49-F238E27FC236}">
                <a16:creationId xmlns:a16="http://schemas.microsoft.com/office/drawing/2014/main" id="{294D9583-F352-4655-A1A6-69AFF92D4A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endCxn id="15" idx="3"/>
          </p:cNvCxnSpPr>
          <p:nvPr/>
        </p:nvCxnSpPr>
        <p:spPr>
          <a:xfrm rot="5400000" flipH="1" flipV="1">
            <a:off x="5544686" y="-581270"/>
            <a:ext cx="1103605" cy="7479585"/>
          </a:xfrm>
          <a:prstGeom prst="bentConnector3">
            <a:avLst>
              <a:gd name="adj1" fmla="val 183881"/>
            </a:avLst>
          </a:prstGeom>
          <a:ln w="422275">
            <a:solidFill>
              <a:srgbClr val="4FA5B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sosceles Triangle 72" descr="Processen fortsätter till">
            <a:extLst>
              <a:ext uri="{FF2B5EF4-FFF2-40B4-BE49-F238E27FC236}">
                <a16:creationId xmlns:a16="http://schemas.microsoft.com/office/drawing/2014/main" id="{C851F5B4-A775-492A-AE1B-12B58ED48EDE}"/>
              </a:ext>
            </a:extLst>
          </p:cNvPr>
          <p:cNvSpPr/>
          <p:nvPr/>
        </p:nvSpPr>
        <p:spPr>
          <a:xfrm rot="5400000">
            <a:off x="3731201" y="1131843"/>
            <a:ext cx="1294543" cy="1077218"/>
          </a:xfrm>
          <a:prstGeom prst="triangle">
            <a:avLst/>
          </a:prstGeom>
          <a:solidFill>
            <a:srgbClr val="4FA5B0"/>
          </a:solidFill>
          <a:ln w="2857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5" name="Isosceles Triangle 84" descr="Som sen fortsätter till">
            <a:extLst>
              <a:ext uri="{FF2B5EF4-FFF2-40B4-BE49-F238E27FC236}">
                <a16:creationId xmlns:a16="http://schemas.microsoft.com/office/drawing/2014/main" id="{ED53709D-4FB3-4B71-85F9-4382D716235B}"/>
              </a:ext>
            </a:extLst>
          </p:cNvPr>
          <p:cNvSpPr/>
          <p:nvPr/>
        </p:nvSpPr>
        <p:spPr>
          <a:xfrm rot="10800000">
            <a:off x="9189010" y="2606719"/>
            <a:ext cx="1294543" cy="1077218"/>
          </a:xfrm>
          <a:prstGeom prst="triangle">
            <a:avLst/>
          </a:prstGeom>
          <a:solidFill>
            <a:srgbClr val="4FA5B0"/>
          </a:solidFill>
          <a:ln w="2857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Isosceles Triangle 9">
            <a:extLst>
              <a:ext uri="{FF2B5EF4-FFF2-40B4-BE49-F238E27FC236}">
                <a16:creationId xmlns:a16="http://schemas.microsoft.com/office/drawing/2014/main" id="{6CB5B35C-4C03-4543-81B9-05A0D21B296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 rot="10800000">
            <a:off x="4534985" y="1250255"/>
            <a:ext cx="3350630" cy="2384405"/>
          </a:xfrm>
          <a:prstGeom prst="triangle">
            <a:avLst/>
          </a:prstGeom>
          <a:solidFill>
            <a:schemeClr val="bg1">
              <a:alpha val="8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t" anchorCtr="1">
            <a:spAutoFit/>
            <a:scene3d>
              <a:camera prst="orthographicFront">
                <a:rot lat="0" lon="0" rev="10800000"/>
              </a:camera>
              <a:lightRig rig="threePt" dir="t"/>
            </a:scene3d>
          </a:bodyPr>
          <a:lstStyle/>
          <a:p>
            <a:pPr algn="ctr"/>
            <a:r>
              <a:rPr kumimoji="0" lang="sv-SE" sz="1800" b="1" i="0" u="none" strike="noStrike" kern="0" cap="none" spc="0" normalizeH="0" baseline="0" noProof="0" dirty="0">
                <a:ln>
                  <a:noFill/>
                </a:ln>
                <a:solidFill>
                  <a:srgbClr val="08808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Prioriterade problemområden</a:t>
            </a:r>
          </a:p>
          <a:p>
            <a:pPr algn="ctr"/>
            <a:endParaRPr lang="en-GB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6" name="Rectangle 68">
            <a:extLst>
              <a:ext uri="{FF2B5EF4-FFF2-40B4-BE49-F238E27FC236}">
                <a16:creationId xmlns:a16="http://schemas.microsoft.com/office/drawing/2014/main" id="{1326ACC2-1C63-4909-B0A8-F628BF220D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818438" y="3697131"/>
            <a:ext cx="4080343" cy="2589369"/>
          </a:xfrm>
          <a:prstGeom prst="rect">
            <a:avLst/>
          </a:prstGeom>
          <a:solidFill>
            <a:schemeClr val="bg1">
              <a:alpha val="8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" name="Platshållare för innehåll 6">
            <a:extLst>
              <a:ext uri="{FF2B5EF4-FFF2-40B4-BE49-F238E27FC236}">
                <a16:creationId xmlns:a16="http://schemas.microsoft.com/office/drawing/2014/main" id="{109D7866-E1E0-4F25-8F2D-C553BA3591F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808692" y="3831802"/>
            <a:ext cx="4357667" cy="814322"/>
          </a:xfrm>
        </p:spPr>
        <p:txBody>
          <a:bodyPr/>
          <a:lstStyle/>
          <a:p>
            <a:pPr marL="0" marR="0" lvl="0" indent="0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0" cap="none" spc="0" normalizeH="0" baseline="0" noProof="0" dirty="0">
                <a:ln>
                  <a:noFill/>
                </a:ln>
                <a:solidFill>
                  <a:srgbClr val="08808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20 delarenor för arbete under 2020</a:t>
            </a:r>
            <a:endParaRPr lang="sv-SE" b="1" kern="0" dirty="0">
              <a:solidFill>
                <a:srgbClr val="08808F"/>
              </a:solidFill>
              <a:latin typeface="Arial" panose="020B0604020202020204"/>
              <a:cs typeface="Arial" panose="020B0604020202020204" pitchFamily="34" charset="0"/>
            </a:endParaRPr>
          </a:p>
          <a:p>
            <a:pPr marL="457200" lvl="1" indent="0" defTabSz="914396">
              <a:spcAft>
                <a:spcPts val="3000"/>
              </a:spcAft>
              <a:buNone/>
              <a:defRPr/>
            </a:pPr>
            <a:r>
              <a:rPr lang="sv-SE" b="1" kern="0" dirty="0">
                <a:solidFill>
                  <a:srgbClr val="08808F"/>
                </a:solidFill>
                <a:latin typeface="Arial" panose="020B0604020202020204"/>
                <a:cs typeface="Arial" panose="020B0604020202020204" pitchFamily="34" charset="0"/>
              </a:rPr>
              <a:t>Hälsofrämjande samhälle</a:t>
            </a:r>
          </a:p>
          <a:p>
            <a:pPr marL="457200" lvl="1" indent="0" defTabSz="914396">
              <a:spcAft>
                <a:spcPts val="3000"/>
              </a:spcAft>
              <a:buNone/>
              <a:defRPr/>
            </a:pPr>
            <a:endParaRPr lang="sv-SE" b="1" kern="0" dirty="0">
              <a:solidFill>
                <a:srgbClr val="08808F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grpSp>
        <p:nvGrpSpPr>
          <p:cNvPr id="17" name="Grupp 16" descr="7 av 20 delarenor">
            <a:extLst>
              <a:ext uri="{FF2B5EF4-FFF2-40B4-BE49-F238E27FC236}">
                <a16:creationId xmlns:a16="http://schemas.microsoft.com/office/drawing/2014/main" id="{C565AECF-973A-44DC-9FC7-87451FF7F2F9}"/>
              </a:ext>
            </a:extLst>
          </p:cNvPr>
          <p:cNvGrpSpPr/>
          <p:nvPr/>
        </p:nvGrpSpPr>
        <p:grpSpPr>
          <a:xfrm>
            <a:off x="8448298" y="4673200"/>
            <a:ext cx="2001990" cy="196221"/>
            <a:chOff x="8333998" y="4523784"/>
            <a:chExt cx="2001990" cy="196221"/>
          </a:xfrm>
        </p:grpSpPr>
        <p:sp>
          <p:nvSpPr>
            <p:cNvPr id="18" name="Hexagon 16">
              <a:extLst>
                <a:ext uri="{FF2B5EF4-FFF2-40B4-BE49-F238E27FC236}">
                  <a16:creationId xmlns:a16="http://schemas.microsoft.com/office/drawing/2014/main" id="{0C949DBA-EC67-4870-AF39-7423B5701FA6}"/>
                </a:ext>
              </a:extLst>
            </p:cNvPr>
            <p:cNvSpPr/>
            <p:nvPr/>
          </p:nvSpPr>
          <p:spPr>
            <a:xfrm>
              <a:off x="8333998" y="4523784"/>
              <a:ext cx="227617" cy="196221"/>
            </a:xfrm>
            <a:prstGeom prst="hexagon">
              <a:avLst/>
            </a:prstGeom>
            <a:solidFill>
              <a:srgbClr val="4FA5B0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GB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9" name="Hexagon 42">
              <a:extLst>
                <a:ext uri="{FF2B5EF4-FFF2-40B4-BE49-F238E27FC236}">
                  <a16:creationId xmlns:a16="http://schemas.microsoft.com/office/drawing/2014/main" id="{7AFF1CC1-4562-474D-A674-48C8DF169F92}"/>
                </a:ext>
              </a:extLst>
            </p:cNvPr>
            <p:cNvSpPr/>
            <p:nvPr/>
          </p:nvSpPr>
          <p:spPr>
            <a:xfrm>
              <a:off x="8631546" y="4523784"/>
              <a:ext cx="227617" cy="196221"/>
            </a:xfrm>
            <a:prstGeom prst="hexagon">
              <a:avLst/>
            </a:prstGeom>
            <a:solidFill>
              <a:srgbClr val="4FA5B0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GB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0" name="Hexagon 43">
              <a:extLst>
                <a:ext uri="{FF2B5EF4-FFF2-40B4-BE49-F238E27FC236}">
                  <a16:creationId xmlns:a16="http://schemas.microsoft.com/office/drawing/2014/main" id="{AAD77F03-726E-40AA-9193-033199D45B16}"/>
                </a:ext>
              </a:extLst>
            </p:cNvPr>
            <p:cNvSpPr/>
            <p:nvPr/>
          </p:nvSpPr>
          <p:spPr>
            <a:xfrm>
              <a:off x="8929094" y="4523784"/>
              <a:ext cx="227617" cy="196221"/>
            </a:xfrm>
            <a:prstGeom prst="hexagon">
              <a:avLst/>
            </a:prstGeom>
            <a:solidFill>
              <a:srgbClr val="4FA5B0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GB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1" name="Hexagon 44">
              <a:extLst>
                <a:ext uri="{FF2B5EF4-FFF2-40B4-BE49-F238E27FC236}">
                  <a16:creationId xmlns:a16="http://schemas.microsoft.com/office/drawing/2014/main" id="{2B42D89A-77CA-4D5F-A572-BE5B5CE049F2}"/>
                </a:ext>
              </a:extLst>
            </p:cNvPr>
            <p:cNvSpPr/>
            <p:nvPr/>
          </p:nvSpPr>
          <p:spPr>
            <a:xfrm>
              <a:off x="9226642" y="4523784"/>
              <a:ext cx="227617" cy="196221"/>
            </a:xfrm>
            <a:prstGeom prst="hexagon">
              <a:avLst/>
            </a:prstGeom>
            <a:solidFill>
              <a:srgbClr val="4FA5B0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GB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2" name="Hexagon 45">
              <a:extLst>
                <a:ext uri="{FF2B5EF4-FFF2-40B4-BE49-F238E27FC236}">
                  <a16:creationId xmlns:a16="http://schemas.microsoft.com/office/drawing/2014/main" id="{454FBA68-12C2-4B0B-ADD3-2D7FCF93F81E}"/>
                </a:ext>
              </a:extLst>
            </p:cNvPr>
            <p:cNvSpPr/>
            <p:nvPr/>
          </p:nvSpPr>
          <p:spPr>
            <a:xfrm>
              <a:off x="9524190" y="4523784"/>
              <a:ext cx="227617" cy="196221"/>
            </a:xfrm>
            <a:prstGeom prst="hexagon">
              <a:avLst/>
            </a:prstGeom>
            <a:solidFill>
              <a:srgbClr val="4FA5B0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GB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grpSp>
          <p:nvGrpSpPr>
            <p:cNvPr id="23" name="Grupp 22">
              <a:extLst>
                <a:ext uri="{FF2B5EF4-FFF2-40B4-BE49-F238E27FC236}">
                  <a16:creationId xmlns:a16="http://schemas.microsoft.com/office/drawing/2014/main" id="{4029B894-D9C9-4817-B164-C20CCE5AA0A8}"/>
                </a:ext>
              </a:extLst>
            </p:cNvPr>
            <p:cNvGrpSpPr/>
            <p:nvPr/>
          </p:nvGrpSpPr>
          <p:grpSpPr>
            <a:xfrm>
              <a:off x="9821738" y="4523784"/>
              <a:ext cx="514250" cy="196221"/>
              <a:chOff x="9821738" y="4523784"/>
              <a:chExt cx="514250" cy="196221"/>
            </a:xfrm>
          </p:grpSpPr>
          <p:sp>
            <p:nvSpPr>
              <p:cNvPr id="24" name="Hexagon 40">
                <a:extLst>
                  <a:ext uri="{FF2B5EF4-FFF2-40B4-BE49-F238E27FC236}">
                    <a16:creationId xmlns:a16="http://schemas.microsoft.com/office/drawing/2014/main" id="{BF84F238-79C7-44F7-95FE-E3A83059665E}"/>
                  </a:ext>
                </a:extLst>
              </p:cNvPr>
              <p:cNvSpPr/>
              <p:nvPr/>
            </p:nvSpPr>
            <p:spPr>
              <a:xfrm>
                <a:off x="9821738" y="4523784"/>
                <a:ext cx="227617" cy="196221"/>
              </a:xfrm>
              <a:prstGeom prst="hexagon">
                <a:avLst/>
              </a:prstGeom>
              <a:solidFill>
                <a:srgbClr val="4FA5B0"/>
              </a:solidFill>
              <a:ln w="1270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n-GB">
                  <a:solidFill>
                    <a:schemeClr val="tx1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5" name="Hexagon 70">
                <a:extLst>
                  <a:ext uri="{FF2B5EF4-FFF2-40B4-BE49-F238E27FC236}">
                    <a16:creationId xmlns:a16="http://schemas.microsoft.com/office/drawing/2014/main" id="{4FE80288-CB98-4ADF-9851-3B9D087F27BC}"/>
                  </a:ext>
                </a:extLst>
              </p:cNvPr>
              <p:cNvSpPr/>
              <p:nvPr/>
            </p:nvSpPr>
            <p:spPr>
              <a:xfrm>
                <a:off x="10108371" y="4523784"/>
                <a:ext cx="227617" cy="196221"/>
              </a:xfrm>
              <a:prstGeom prst="hexagon">
                <a:avLst/>
              </a:prstGeom>
              <a:solidFill>
                <a:srgbClr val="4FA5B0"/>
              </a:solidFill>
              <a:ln w="1270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n-GB" dirty="0">
                  <a:solidFill>
                    <a:schemeClr val="tx1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</p:grpSp>
      </p:grpSp>
      <p:sp>
        <p:nvSpPr>
          <p:cNvPr id="45" name="textruta 44">
            <a:extLst>
              <a:ext uri="{FF2B5EF4-FFF2-40B4-BE49-F238E27FC236}">
                <a16:creationId xmlns:a16="http://schemas.microsoft.com/office/drawing/2014/main" id="{0F8E6208-D05A-4F59-A21D-44EAF6335D71}"/>
              </a:ext>
            </a:extLst>
          </p:cNvPr>
          <p:cNvSpPr txBox="1"/>
          <p:nvPr/>
        </p:nvSpPr>
        <p:spPr>
          <a:xfrm>
            <a:off x="7808692" y="4904144"/>
            <a:ext cx="609407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lvl="1" indent="0" defTabSz="914396">
              <a:spcAft>
                <a:spcPts val="3000"/>
              </a:spcAft>
              <a:buNone/>
              <a:defRPr/>
            </a:pPr>
            <a:r>
              <a:rPr kumimoji="0" lang="sv-SE" b="1" i="0" u="none" strike="noStrike" kern="0" cap="none" spc="0" normalizeH="0" baseline="0" noProof="0" dirty="0">
                <a:ln>
                  <a:noFill/>
                </a:ln>
                <a:solidFill>
                  <a:srgbClr val="08808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Rustade individer</a:t>
            </a:r>
          </a:p>
        </p:txBody>
      </p:sp>
      <p:grpSp>
        <p:nvGrpSpPr>
          <p:cNvPr id="26" name="Grupp 25" descr="7 av 20 delarenor">
            <a:extLst>
              <a:ext uri="{FF2B5EF4-FFF2-40B4-BE49-F238E27FC236}">
                <a16:creationId xmlns:a16="http://schemas.microsoft.com/office/drawing/2014/main" id="{29C16381-F2AE-46E1-A3F0-702E0ABF2D43}"/>
              </a:ext>
            </a:extLst>
          </p:cNvPr>
          <p:cNvGrpSpPr/>
          <p:nvPr/>
        </p:nvGrpSpPr>
        <p:grpSpPr>
          <a:xfrm>
            <a:off x="8448298" y="5308200"/>
            <a:ext cx="2001990" cy="196221"/>
            <a:chOff x="8333998" y="4523784"/>
            <a:chExt cx="2001990" cy="196221"/>
          </a:xfrm>
        </p:grpSpPr>
        <p:sp>
          <p:nvSpPr>
            <p:cNvPr id="27" name="Hexagon 16">
              <a:extLst>
                <a:ext uri="{FF2B5EF4-FFF2-40B4-BE49-F238E27FC236}">
                  <a16:creationId xmlns:a16="http://schemas.microsoft.com/office/drawing/2014/main" id="{490EBD5C-BCA9-4E56-9F10-28461D1A14B0}"/>
                </a:ext>
              </a:extLst>
            </p:cNvPr>
            <p:cNvSpPr/>
            <p:nvPr/>
          </p:nvSpPr>
          <p:spPr>
            <a:xfrm>
              <a:off x="8333998" y="4523784"/>
              <a:ext cx="227617" cy="196221"/>
            </a:xfrm>
            <a:prstGeom prst="hexagon">
              <a:avLst/>
            </a:prstGeom>
            <a:solidFill>
              <a:srgbClr val="4FA5B0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GB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8" name="Hexagon 42">
              <a:extLst>
                <a:ext uri="{FF2B5EF4-FFF2-40B4-BE49-F238E27FC236}">
                  <a16:creationId xmlns:a16="http://schemas.microsoft.com/office/drawing/2014/main" id="{85C5CF4E-55B8-48D2-9554-998E86DDBACA}"/>
                </a:ext>
              </a:extLst>
            </p:cNvPr>
            <p:cNvSpPr/>
            <p:nvPr/>
          </p:nvSpPr>
          <p:spPr>
            <a:xfrm>
              <a:off x="8631546" y="4523784"/>
              <a:ext cx="227617" cy="196221"/>
            </a:xfrm>
            <a:prstGeom prst="hexagon">
              <a:avLst/>
            </a:prstGeom>
            <a:solidFill>
              <a:srgbClr val="4FA5B0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GB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9" name="Hexagon 43">
              <a:extLst>
                <a:ext uri="{FF2B5EF4-FFF2-40B4-BE49-F238E27FC236}">
                  <a16:creationId xmlns:a16="http://schemas.microsoft.com/office/drawing/2014/main" id="{D80DF17D-3FCD-439B-B206-66FDF71B38AB}"/>
                </a:ext>
              </a:extLst>
            </p:cNvPr>
            <p:cNvSpPr/>
            <p:nvPr/>
          </p:nvSpPr>
          <p:spPr>
            <a:xfrm>
              <a:off x="8929094" y="4523784"/>
              <a:ext cx="227617" cy="196221"/>
            </a:xfrm>
            <a:prstGeom prst="hexagon">
              <a:avLst/>
            </a:prstGeom>
            <a:solidFill>
              <a:srgbClr val="4FA5B0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GB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0" name="Hexagon 44">
              <a:extLst>
                <a:ext uri="{FF2B5EF4-FFF2-40B4-BE49-F238E27FC236}">
                  <a16:creationId xmlns:a16="http://schemas.microsoft.com/office/drawing/2014/main" id="{BE5DA79C-D852-42DE-86D6-8741B7A25D32}"/>
                </a:ext>
              </a:extLst>
            </p:cNvPr>
            <p:cNvSpPr/>
            <p:nvPr/>
          </p:nvSpPr>
          <p:spPr>
            <a:xfrm>
              <a:off x="9226642" y="4523784"/>
              <a:ext cx="227617" cy="196221"/>
            </a:xfrm>
            <a:prstGeom prst="hexagon">
              <a:avLst/>
            </a:prstGeom>
            <a:solidFill>
              <a:srgbClr val="4FA5B0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GB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1" name="Hexagon 45">
              <a:extLst>
                <a:ext uri="{FF2B5EF4-FFF2-40B4-BE49-F238E27FC236}">
                  <a16:creationId xmlns:a16="http://schemas.microsoft.com/office/drawing/2014/main" id="{6A5C827F-8D5D-48BD-8E53-5D082459F0F6}"/>
                </a:ext>
              </a:extLst>
            </p:cNvPr>
            <p:cNvSpPr/>
            <p:nvPr/>
          </p:nvSpPr>
          <p:spPr>
            <a:xfrm>
              <a:off x="9524190" y="4523784"/>
              <a:ext cx="227617" cy="196221"/>
            </a:xfrm>
            <a:prstGeom prst="hexagon">
              <a:avLst/>
            </a:prstGeom>
            <a:solidFill>
              <a:srgbClr val="4FA5B0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GB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grpSp>
          <p:nvGrpSpPr>
            <p:cNvPr id="32" name="Grupp 31">
              <a:extLst>
                <a:ext uri="{FF2B5EF4-FFF2-40B4-BE49-F238E27FC236}">
                  <a16:creationId xmlns:a16="http://schemas.microsoft.com/office/drawing/2014/main" id="{44199B19-F68D-49E9-880E-C83F8F4B1AC0}"/>
                </a:ext>
              </a:extLst>
            </p:cNvPr>
            <p:cNvGrpSpPr/>
            <p:nvPr/>
          </p:nvGrpSpPr>
          <p:grpSpPr>
            <a:xfrm>
              <a:off x="9821738" y="4523784"/>
              <a:ext cx="514250" cy="196221"/>
              <a:chOff x="9821738" y="4523784"/>
              <a:chExt cx="514250" cy="196221"/>
            </a:xfrm>
          </p:grpSpPr>
          <p:sp>
            <p:nvSpPr>
              <p:cNvPr id="33" name="Hexagon 40">
                <a:extLst>
                  <a:ext uri="{FF2B5EF4-FFF2-40B4-BE49-F238E27FC236}">
                    <a16:creationId xmlns:a16="http://schemas.microsoft.com/office/drawing/2014/main" id="{B85D73ED-2E7C-4932-846E-BC25BF816044}"/>
                  </a:ext>
                </a:extLst>
              </p:cNvPr>
              <p:cNvSpPr/>
              <p:nvPr/>
            </p:nvSpPr>
            <p:spPr>
              <a:xfrm>
                <a:off x="9821738" y="4523784"/>
                <a:ext cx="227617" cy="196221"/>
              </a:xfrm>
              <a:prstGeom prst="hexagon">
                <a:avLst/>
              </a:prstGeom>
              <a:solidFill>
                <a:srgbClr val="4FA5B0"/>
              </a:solidFill>
              <a:ln w="1270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n-GB">
                  <a:solidFill>
                    <a:schemeClr val="tx1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34" name="Hexagon 70">
                <a:extLst>
                  <a:ext uri="{FF2B5EF4-FFF2-40B4-BE49-F238E27FC236}">
                    <a16:creationId xmlns:a16="http://schemas.microsoft.com/office/drawing/2014/main" id="{77233340-301E-4E01-B2CE-76E8323FECDB}"/>
                  </a:ext>
                </a:extLst>
              </p:cNvPr>
              <p:cNvSpPr/>
              <p:nvPr/>
            </p:nvSpPr>
            <p:spPr>
              <a:xfrm>
                <a:off x="10108371" y="4523784"/>
                <a:ext cx="227617" cy="196221"/>
              </a:xfrm>
              <a:prstGeom prst="hexagon">
                <a:avLst/>
              </a:prstGeom>
              <a:solidFill>
                <a:srgbClr val="4FA5B0"/>
              </a:solidFill>
              <a:ln w="1270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n-GB" dirty="0">
                  <a:solidFill>
                    <a:schemeClr val="tx1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</p:grpSp>
      </p:grpSp>
      <p:sp>
        <p:nvSpPr>
          <p:cNvPr id="46" name="textruta 45">
            <a:extLst>
              <a:ext uri="{FF2B5EF4-FFF2-40B4-BE49-F238E27FC236}">
                <a16:creationId xmlns:a16="http://schemas.microsoft.com/office/drawing/2014/main" id="{FE96EFCF-0CE5-41C4-A32F-962190B19D97}"/>
              </a:ext>
            </a:extLst>
          </p:cNvPr>
          <p:cNvSpPr txBox="1"/>
          <p:nvPr/>
        </p:nvSpPr>
        <p:spPr>
          <a:xfrm>
            <a:off x="7818438" y="5579971"/>
            <a:ext cx="695059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lvl="1" indent="0" defTabSz="914396">
              <a:spcAft>
                <a:spcPts val="3000"/>
              </a:spcAft>
              <a:buNone/>
              <a:defRPr/>
            </a:pPr>
            <a:r>
              <a:rPr lang="sv-SE" b="1" kern="0" dirty="0">
                <a:solidFill>
                  <a:srgbClr val="08808F"/>
                </a:solidFill>
                <a:latin typeface="Arial" panose="020B0604020202020204"/>
                <a:cs typeface="Arial" panose="020B0604020202020204" pitchFamily="34" charset="0"/>
              </a:rPr>
              <a:t>Hållbara stöd</a:t>
            </a:r>
            <a:endParaRPr kumimoji="0" lang="sv-SE" b="1" i="0" u="none" strike="noStrike" kern="0" cap="none" spc="0" normalizeH="0" baseline="0" noProof="0" dirty="0">
              <a:ln>
                <a:noFill/>
              </a:ln>
              <a:solidFill>
                <a:srgbClr val="08808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35" name="Grupp 34" descr="6 av 20 delarenor">
            <a:extLst>
              <a:ext uri="{FF2B5EF4-FFF2-40B4-BE49-F238E27FC236}">
                <a16:creationId xmlns:a16="http://schemas.microsoft.com/office/drawing/2014/main" id="{4DF15144-FEA5-4607-8EB8-7603504EFBC1}"/>
              </a:ext>
            </a:extLst>
          </p:cNvPr>
          <p:cNvGrpSpPr/>
          <p:nvPr/>
        </p:nvGrpSpPr>
        <p:grpSpPr>
          <a:xfrm>
            <a:off x="8460998" y="5955900"/>
            <a:ext cx="1715357" cy="196221"/>
            <a:chOff x="8333998" y="4523784"/>
            <a:chExt cx="1715357" cy="196221"/>
          </a:xfrm>
        </p:grpSpPr>
        <p:sp>
          <p:nvSpPr>
            <p:cNvPr id="36" name="Hexagon 16">
              <a:extLst>
                <a:ext uri="{FF2B5EF4-FFF2-40B4-BE49-F238E27FC236}">
                  <a16:creationId xmlns:a16="http://schemas.microsoft.com/office/drawing/2014/main" id="{78E58CA3-1801-4D5D-99DE-6AE88FDF995C}"/>
                </a:ext>
              </a:extLst>
            </p:cNvPr>
            <p:cNvSpPr/>
            <p:nvPr/>
          </p:nvSpPr>
          <p:spPr>
            <a:xfrm>
              <a:off x="8333998" y="4523784"/>
              <a:ext cx="227617" cy="196221"/>
            </a:xfrm>
            <a:prstGeom prst="hexagon">
              <a:avLst/>
            </a:prstGeom>
            <a:solidFill>
              <a:srgbClr val="4FA5B0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GB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7" name="Hexagon 42">
              <a:extLst>
                <a:ext uri="{FF2B5EF4-FFF2-40B4-BE49-F238E27FC236}">
                  <a16:creationId xmlns:a16="http://schemas.microsoft.com/office/drawing/2014/main" id="{7A164344-CAFD-4CD6-96AA-B498E7FD8FF2}"/>
                </a:ext>
              </a:extLst>
            </p:cNvPr>
            <p:cNvSpPr/>
            <p:nvPr/>
          </p:nvSpPr>
          <p:spPr>
            <a:xfrm>
              <a:off x="8631546" y="4523784"/>
              <a:ext cx="227617" cy="196221"/>
            </a:xfrm>
            <a:prstGeom prst="hexagon">
              <a:avLst/>
            </a:prstGeom>
            <a:solidFill>
              <a:srgbClr val="4FA5B0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GB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8" name="Hexagon 43">
              <a:extLst>
                <a:ext uri="{FF2B5EF4-FFF2-40B4-BE49-F238E27FC236}">
                  <a16:creationId xmlns:a16="http://schemas.microsoft.com/office/drawing/2014/main" id="{4E180E01-EE07-475D-93A1-0F68572B1134}"/>
                </a:ext>
              </a:extLst>
            </p:cNvPr>
            <p:cNvSpPr/>
            <p:nvPr/>
          </p:nvSpPr>
          <p:spPr>
            <a:xfrm>
              <a:off x="8929094" y="4523784"/>
              <a:ext cx="227617" cy="196221"/>
            </a:xfrm>
            <a:prstGeom prst="hexagon">
              <a:avLst/>
            </a:prstGeom>
            <a:solidFill>
              <a:srgbClr val="4FA5B0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GB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9" name="Hexagon 44">
              <a:extLst>
                <a:ext uri="{FF2B5EF4-FFF2-40B4-BE49-F238E27FC236}">
                  <a16:creationId xmlns:a16="http://schemas.microsoft.com/office/drawing/2014/main" id="{E4C8D535-DC09-4D66-A01D-1948F00BDE07}"/>
                </a:ext>
              </a:extLst>
            </p:cNvPr>
            <p:cNvSpPr/>
            <p:nvPr/>
          </p:nvSpPr>
          <p:spPr>
            <a:xfrm>
              <a:off x="9226642" y="4523784"/>
              <a:ext cx="227617" cy="196221"/>
            </a:xfrm>
            <a:prstGeom prst="hexagon">
              <a:avLst/>
            </a:prstGeom>
            <a:solidFill>
              <a:srgbClr val="4FA5B0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GB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0" name="Hexagon 45">
              <a:extLst>
                <a:ext uri="{FF2B5EF4-FFF2-40B4-BE49-F238E27FC236}">
                  <a16:creationId xmlns:a16="http://schemas.microsoft.com/office/drawing/2014/main" id="{8F9E4085-FA72-42DB-A26B-A18AC309E539}"/>
                </a:ext>
              </a:extLst>
            </p:cNvPr>
            <p:cNvSpPr/>
            <p:nvPr/>
          </p:nvSpPr>
          <p:spPr>
            <a:xfrm>
              <a:off x="9524190" y="4523784"/>
              <a:ext cx="227617" cy="196221"/>
            </a:xfrm>
            <a:prstGeom prst="hexagon">
              <a:avLst/>
            </a:prstGeom>
            <a:solidFill>
              <a:srgbClr val="4FA5B0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GB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2" name="Hexagon 40">
              <a:extLst>
                <a:ext uri="{FF2B5EF4-FFF2-40B4-BE49-F238E27FC236}">
                  <a16:creationId xmlns:a16="http://schemas.microsoft.com/office/drawing/2014/main" id="{9EEED537-9D9E-4E29-8944-46A4D96FC654}"/>
                </a:ext>
              </a:extLst>
            </p:cNvPr>
            <p:cNvSpPr/>
            <p:nvPr/>
          </p:nvSpPr>
          <p:spPr>
            <a:xfrm>
              <a:off x="9821738" y="4523784"/>
              <a:ext cx="227617" cy="196221"/>
            </a:xfrm>
            <a:prstGeom prst="hexagon">
              <a:avLst/>
            </a:prstGeom>
            <a:solidFill>
              <a:srgbClr val="4FA5B0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GB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356861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UZBwV1WEiOXfoo8TVOx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D4KYW.Qb27LQ1RtVvdQ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u4zT6UL9H2VN5NcpU5T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u4zT6UL9H2VN5NcpU5T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u4zT6UL9H2VN5NcpU5T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u4zT6UL9H2VN5NcpU5T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u4zT6UL9H2VN5NcpU5T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hnvnYg9pISOtC72xMeJ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gUXrcbTVaqKT2Rd1are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D4KYW.Qb27LQ1RtVvdQ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UZBwV1WEiOXfoo8TVOx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D4KYW.Qb27LQ1RtVvdQ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KL PPT Gul">
  <a:themeElements>
    <a:clrScheme name="SKL 2017">
      <a:dk1>
        <a:sysClr val="windowText" lastClr="000000"/>
      </a:dk1>
      <a:lt1>
        <a:sysClr val="window" lastClr="FFFFFF"/>
      </a:lt1>
      <a:dk2>
        <a:srgbClr val="6A605A"/>
      </a:dk2>
      <a:lt2>
        <a:srgbClr val="D7D1CA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SKL PP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R-mall" id="{468633D1-67D6-4908-9F28-7722E2184211}" vid="{ED7320B5-01FD-4AAD-B03D-A246FFB706F5}"/>
    </a:ext>
  </a:extLst>
</a:theme>
</file>

<file path=ppt/theme/theme10.xml><?xml version="1.0" encoding="utf-8"?>
<a:theme xmlns:a="http://schemas.openxmlformats.org/drawingml/2006/main" name="25_SKL PPT Gul">
  <a:themeElements>
    <a:clrScheme name="SKL 2017">
      <a:dk1>
        <a:sysClr val="windowText" lastClr="000000"/>
      </a:dk1>
      <a:lt1>
        <a:sysClr val="window" lastClr="FFFFFF"/>
      </a:lt1>
      <a:dk2>
        <a:srgbClr val="6A605A"/>
      </a:dk2>
      <a:lt2>
        <a:srgbClr val="D7D1CA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SKL PP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00113 Metodstöd (SKR-mall)" id="{6D60C8C6-D18F-49CB-A6C9-88E1602A91C2}" vid="{534BDF23-5689-414D-B608-0ABE4B11B313}"/>
    </a:ext>
  </a:extLst>
</a:theme>
</file>

<file path=ppt/theme/theme11.xml><?xml version="1.0" encoding="utf-8"?>
<a:theme xmlns:a="http://schemas.openxmlformats.org/drawingml/2006/main" name="11_SKL PPT Gul">
  <a:themeElements>
    <a:clrScheme name="SKL 2017">
      <a:dk1>
        <a:sysClr val="windowText" lastClr="000000"/>
      </a:dk1>
      <a:lt1>
        <a:sysClr val="window" lastClr="FFFFFF"/>
      </a:lt1>
      <a:dk2>
        <a:srgbClr val="6A605A"/>
      </a:dk2>
      <a:lt2>
        <a:srgbClr val="D7D1CA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SKL PP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00113 Metodstöd (SKR-mall)" id="{6D60C8C6-D18F-49CB-A6C9-88E1602A91C2}" vid="{534BDF23-5689-414D-B608-0ABE4B11B313}"/>
    </a:ext>
  </a:extLst>
</a:theme>
</file>

<file path=ppt/theme/theme12.xml><?xml version="1.0" encoding="utf-8"?>
<a:theme xmlns:a="http://schemas.openxmlformats.org/drawingml/2006/main" name="12_SKL PPT Gul">
  <a:themeElements>
    <a:clrScheme name="SKL 2017">
      <a:dk1>
        <a:sysClr val="windowText" lastClr="000000"/>
      </a:dk1>
      <a:lt1>
        <a:sysClr val="window" lastClr="FFFFFF"/>
      </a:lt1>
      <a:dk2>
        <a:srgbClr val="6A605A"/>
      </a:dk2>
      <a:lt2>
        <a:srgbClr val="D7D1CA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SKL PP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00113 Metodstöd (SKR-mall)" id="{6D60C8C6-D18F-49CB-A6C9-88E1602A91C2}" vid="{534BDF23-5689-414D-B608-0ABE4B11B313}"/>
    </a:ext>
  </a:extLst>
</a:theme>
</file>

<file path=ppt/theme/theme13.xml><?xml version="1.0" encoding="utf-8"?>
<a:theme xmlns:a="http://schemas.openxmlformats.org/drawingml/2006/main" name="14_SKL PPT Gul">
  <a:themeElements>
    <a:clrScheme name="SKL 2017">
      <a:dk1>
        <a:sysClr val="windowText" lastClr="000000"/>
      </a:dk1>
      <a:lt1>
        <a:sysClr val="window" lastClr="FFFFFF"/>
      </a:lt1>
      <a:dk2>
        <a:srgbClr val="6A605A"/>
      </a:dk2>
      <a:lt2>
        <a:srgbClr val="D7D1CA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SKL PP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R-mall" id="{4E875C82-7C33-42DD-AB25-F0015F3ABBE3}" vid="{76891D73-4184-4801-A9D8-B3436FF47395}"/>
    </a:ext>
  </a:extLst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Anpassad formgivning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Inledningsbilder">
  <a:themeElements>
    <a:clrScheme name="SKL PPT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SKL PP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R-mall" id="{468633D1-67D6-4908-9F28-7722E2184211}" vid="{40D02779-D24F-424C-870E-39BED5281AF9}"/>
    </a:ext>
  </a:extLst>
</a:theme>
</file>

<file path=ppt/theme/theme4.xml><?xml version="1.0" encoding="utf-8"?>
<a:theme xmlns:a="http://schemas.openxmlformats.org/drawingml/2006/main" name="Avslutningsbilder">
  <a:themeElements>
    <a:clrScheme name="SKL PPT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SKL PP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R-mall" id="{468633D1-67D6-4908-9F28-7722E2184211}" vid="{F2231347-A1B3-4AFD-BA96-B00EA8C22C33}"/>
    </a:ext>
  </a:extLst>
</a:theme>
</file>

<file path=ppt/theme/theme5.xml><?xml version="1.0" encoding="utf-8"?>
<a:theme xmlns:a="http://schemas.openxmlformats.org/drawingml/2006/main" name="1_SKL PPT Gul">
  <a:themeElements>
    <a:clrScheme name="SKL 2017">
      <a:dk1>
        <a:sysClr val="windowText" lastClr="000000"/>
      </a:dk1>
      <a:lt1>
        <a:sysClr val="window" lastClr="FFFFFF"/>
      </a:lt1>
      <a:dk2>
        <a:srgbClr val="6A605A"/>
      </a:dk2>
      <a:lt2>
        <a:srgbClr val="D7D1CA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SKL PP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00113 Metodstöd (SKR-mall)" id="{6D60C8C6-D18F-49CB-A6C9-88E1602A91C2}" vid="{534BDF23-5689-414D-B608-0ABE4B11B313}"/>
    </a:ext>
  </a:extLst>
</a:theme>
</file>

<file path=ppt/theme/theme6.xml><?xml version="1.0" encoding="utf-8"?>
<a:theme xmlns:a="http://schemas.openxmlformats.org/drawingml/2006/main" name="17_SKL PPT Gul">
  <a:themeElements>
    <a:clrScheme name="SKL 2017">
      <a:dk1>
        <a:sysClr val="windowText" lastClr="000000"/>
      </a:dk1>
      <a:lt1>
        <a:sysClr val="window" lastClr="FFFFFF"/>
      </a:lt1>
      <a:dk2>
        <a:srgbClr val="6A605A"/>
      </a:dk2>
      <a:lt2>
        <a:srgbClr val="D7D1CA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SKL PP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R-mall" id="{468633D1-67D6-4908-9F28-7722E2184211}" vid="{ED7320B5-01FD-4AAD-B03D-A246FFB706F5}"/>
    </a:ext>
  </a:extLst>
</a:theme>
</file>

<file path=ppt/theme/theme7.xml><?xml version="1.0" encoding="utf-8"?>
<a:theme xmlns:a="http://schemas.openxmlformats.org/drawingml/2006/main" name="2_SKL PPT Gul">
  <a:themeElements>
    <a:clrScheme name="SKL 2017">
      <a:dk1>
        <a:sysClr val="windowText" lastClr="000000"/>
      </a:dk1>
      <a:lt1>
        <a:sysClr val="window" lastClr="FFFFFF"/>
      </a:lt1>
      <a:dk2>
        <a:srgbClr val="6A605A"/>
      </a:dk2>
      <a:lt2>
        <a:srgbClr val="D7D1CA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SKL PP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R-mall" id="{468633D1-67D6-4908-9F28-7722E2184211}" vid="{ED7320B5-01FD-4AAD-B03D-A246FFB706F5}"/>
    </a:ext>
  </a:extLst>
</a:theme>
</file>

<file path=ppt/theme/theme8.xml><?xml version="1.0" encoding="utf-8"?>
<a:theme xmlns:a="http://schemas.openxmlformats.org/drawingml/2006/main" name="19_SKL PPT Gul">
  <a:themeElements>
    <a:clrScheme name="SKL 2017">
      <a:dk1>
        <a:sysClr val="windowText" lastClr="000000"/>
      </a:dk1>
      <a:lt1>
        <a:sysClr val="window" lastClr="FFFFFF"/>
      </a:lt1>
      <a:dk2>
        <a:srgbClr val="6A605A"/>
      </a:dk2>
      <a:lt2>
        <a:srgbClr val="D7D1CA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SKL PP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R-mall" id="{468633D1-67D6-4908-9F28-7722E2184211}" vid="{ED7320B5-01FD-4AAD-B03D-A246FFB706F5}"/>
    </a:ext>
  </a:extLst>
</a:theme>
</file>

<file path=ppt/theme/theme9.xml><?xml version="1.0" encoding="utf-8"?>
<a:theme xmlns:a="http://schemas.openxmlformats.org/drawingml/2006/main" name="4_SKL PPT Gul">
  <a:themeElements>
    <a:clrScheme name="SKL 2017">
      <a:dk1>
        <a:sysClr val="windowText" lastClr="000000"/>
      </a:dk1>
      <a:lt1>
        <a:sysClr val="window" lastClr="FFFFFF"/>
      </a:lt1>
      <a:dk2>
        <a:srgbClr val="6A605A"/>
      </a:dk2>
      <a:lt2>
        <a:srgbClr val="D7D1CA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SKL PP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00113 Metodstöd (SKR-mall)" id="{6D60C8C6-D18F-49CB-A6C9-88E1602A91C2}" vid="{534BDF23-5689-414D-B608-0ABE4B11B313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817BC8B28017C44F8F26E5EA32CE15E4" ma:contentTypeVersion="12" ma:contentTypeDescription="Skapa ett nytt dokument." ma:contentTypeScope="" ma:versionID="a1dc9775946a23a04437cfbb83325c5f">
  <xsd:schema xmlns:xsd="http://www.w3.org/2001/XMLSchema" xmlns:xs="http://www.w3.org/2001/XMLSchema" xmlns:p="http://schemas.microsoft.com/office/2006/metadata/properties" xmlns:ns2="9cf85e46-25f8-44e2-93eb-315bb1207d15" xmlns:ns3="07cdc54d-0023-40d5-b10f-0636cc5c2fb5" targetNamespace="http://schemas.microsoft.com/office/2006/metadata/properties" ma:root="true" ma:fieldsID="54086e1a4589914e7ca1b2bf3fbb8b9e" ns2:_="" ns3:_="">
    <xsd:import namespace="9cf85e46-25f8-44e2-93eb-315bb1207d15"/>
    <xsd:import namespace="07cdc54d-0023-40d5-b10f-0636cc5c2fb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f85e46-25f8-44e2-93eb-315bb1207d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7cdc54d-0023-40d5-b10f-0636cc5c2fb5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Dela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Delat med information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07cdc54d-0023-40d5-b10f-0636cc5c2fb5">
      <UserInfo>
        <DisplayName>Axel Lilja</DisplayName>
        <AccountId>39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68B87C2A-9284-4B4F-A17B-3D7D965A880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F451776-8B6E-4461-9C45-BB9932AC3BC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cf85e46-25f8-44e2-93eb-315bb1207d15"/>
    <ds:schemaRef ds:uri="07cdc54d-0023-40d5-b10f-0636cc5c2fb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7926E09-2B24-481C-AEB3-8AAFAD9BED3C}">
  <ds:schemaRefs>
    <ds:schemaRef ds:uri="http://schemas.microsoft.com/office/infopath/2007/PartnerControls"/>
    <ds:schemaRef ds:uri="http://purl.org/dc/elements/1.1/"/>
    <ds:schemaRef ds:uri="07cdc54d-0023-40d5-b10f-0636cc5c2fb5"/>
    <ds:schemaRef ds:uri="http://schemas.microsoft.com/office/2006/metadata/properties"/>
    <ds:schemaRef ds:uri="http://purl.org/dc/terms/"/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9cf85e46-25f8-44e2-93eb-315bb1207d15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654</Words>
  <Application>Microsoft Office PowerPoint</Application>
  <PresentationFormat>Bredbild</PresentationFormat>
  <Paragraphs>582</Paragraphs>
  <Slides>22</Slides>
  <Notes>7</Notes>
  <HiddenSlides>0</HiddenSlides>
  <MMClips>0</MMClips>
  <ScaleCrop>false</ScaleCrop>
  <HeadingPairs>
    <vt:vector size="8" baseType="variant">
      <vt:variant>
        <vt:lpstr>Använt teckensnitt</vt:lpstr>
      </vt:variant>
      <vt:variant>
        <vt:i4>5</vt:i4>
      </vt:variant>
      <vt:variant>
        <vt:lpstr>Tema</vt:lpstr>
      </vt:variant>
      <vt:variant>
        <vt:i4>13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22</vt:i4>
      </vt:variant>
    </vt:vector>
  </HeadingPairs>
  <TitlesOfParts>
    <vt:vector size="41" baseType="lpstr">
      <vt:lpstr>Arial</vt:lpstr>
      <vt:lpstr>Calibri</vt:lpstr>
      <vt:lpstr>Calibri Light</vt:lpstr>
      <vt:lpstr>Symbol</vt:lpstr>
      <vt:lpstr>Wingdings</vt:lpstr>
      <vt:lpstr>SKL PPT Gul</vt:lpstr>
      <vt:lpstr>Anpassad formgivning</vt:lpstr>
      <vt:lpstr>Inledningsbilder</vt:lpstr>
      <vt:lpstr>Avslutningsbilder</vt:lpstr>
      <vt:lpstr>1_SKL PPT Gul</vt:lpstr>
      <vt:lpstr>17_SKL PPT Gul</vt:lpstr>
      <vt:lpstr>2_SKL PPT Gul</vt:lpstr>
      <vt:lpstr>19_SKL PPT Gul</vt:lpstr>
      <vt:lpstr>4_SKL PPT Gul</vt:lpstr>
      <vt:lpstr>25_SKL PPT Gul</vt:lpstr>
      <vt:lpstr>11_SKL PPT Gul</vt:lpstr>
      <vt:lpstr>12_SKL PPT Gul</vt:lpstr>
      <vt:lpstr>14_SKL PPT Gul</vt:lpstr>
      <vt:lpstr>think-cell Slide</vt:lpstr>
      <vt:lpstr>Informationsmaterial </vt:lpstr>
      <vt:lpstr>Kraftsamling psykisk hälsa syftar till ett långsiktigt och tvärsektoriellt arbete</vt:lpstr>
      <vt:lpstr>För att möta utmaningarna inom psykisk hälsa, krävs att vi arbetar tillsammans på ett nytt sätt</vt:lpstr>
      <vt:lpstr>Kraftsamlingen är ett arbetssätt för att genomföra konkret utvecklingsarbete</vt:lpstr>
      <vt:lpstr>Kraftsamlingen är ett arbetssätt för att genomföra konkret utvecklingsarbete – mer i detalj</vt:lpstr>
      <vt:lpstr>Totalt har fler än 350 organisationer hittills medverkat i Kraftsamlingens aktiviteter</vt:lpstr>
      <vt:lpstr>”Connect the dots” mellan organisationer ger nya möjligheter och lösningar, mindre dubbelarbete och större kraft!</vt:lpstr>
      <vt:lpstr>Kraftsamling psykisk hälsa inriktas mot tre arbetsområden</vt:lpstr>
      <vt:lpstr>Arbetet under 2019 har gett underlag för att arbeta vidare med 20 delarenor</vt:lpstr>
      <vt:lpstr>Delarenaformatets idé och utgångspunkter</vt:lpstr>
      <vt:lpstr>1. Ett mer hälsofrämjande samhälle och levnadssätt </vt:lpstr>
      <vt:lpstr>2. Individer som är rustade för att nå sin fulla potential och välmående</vt:lpstr>
      <vt:lpstr>3. Hållbara stöd till de som behöver</vt:lpstr>
      <vt:lpstr>Under våren 2020 startades sju delarenor upp</vt:lpstr>
      <vt:lpstr>Principer för arbetet i delarenan</vt:lpstr>
      <vt:lpstr>Tanken med delarenorna är att arbetsgruppen ringar in initiativ som kan bidra till en positiv utveckling på området – Och sedan genomföra dem</vt:lpstr>
      <vt:lpstr>Övergripande arbetsprocess för en delarena</vt:lpstr>
      <vt:lpstr>Delarenans arbetsfaser fram till handslag</vt:lpstr>
      <vt:lpstr>Visionen om ett handslag Illustrativt exempel,  nuläge och handslag</vt:lpstr>
      <vt:lpstr>Delarenornas handslag bildar gemensamt Kraftsamlingens  plan för ett långsiktigt gemensamt utvecklingsarbete 2020–2030</vt:lpstr>
      <vt:lpstr>Hittills har nio handslagsdokument färdigställts och signerats - vi ser fram emot att ännu fler tillkommer!</vt:lpstr>
      <vt:lpstr>Stort tack för din medverkan! 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formationsmaterial - Kraftsamling psykisk hälsa</dc:title>
  <dc:subject>Kraftsamling, Psykisk hälsa</dc:subject>
  <dc:creator/>
  <cp:lastModifiedBy/>
  <cp:revision>4</cp:revision>
  <dcterms:created xsi:type="dcterms:W3CDTF">2019-12-17T13:10:32Z</dcterms:created>
  <dcterms:modified xsi:type="dcterms:W3CDTF">2020-12-14T08:22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17BC8B28017C44F8F26E5EA32CE15E4</vt:lpwstr>
  </property>
</Properties>
</file>